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97" r:id="rId4"/>
    <p:sldMasterId id="2147485265" r:id="rId5"/>
    <p:sldMasterId id="2147485473" r:id="rId6"/>
    <p:sldMasterId id="2147485497" r:id="rId7"/>
  </p:sldMasterIdLst>
  <p:notesMasterIdLst>
    <p:notesMasterId r:id="rId40"/>
  </p:notesMasterIdLst>
  <p:handoutMasterIdLst>
    <p:handoutMasterId r:id="rId41"/>
  </p:handoutMasterIdLst>
  <p:sldIdLst>
    <p:sldId id="256" r:id="rId8"/>
    <p:sldId id="416" r:id="rId9"/>
    <p:sldId id="385" r:id="rId10"/>
    <p:sldId id="384" r:id="rId11"/>
    <p:sldId id="386" r:id="rId12"/>
    <p:sldId id="392" r:id="rId13"/>
    <p:sldId id="387" r:id="rId14"/>
    <p:sldId id="390" r:id="rId15"/>
    <p:sldId id="388" r:id="rId16"/>
    <p:sldId id="391" r:id="rId17"/>
    <p:sldId id="417" r:id="rId18"/>
    <p:sldId id="3168" r:id="rId19"/>
    <p:sldId id="264" r:id="rId20"/>
    <p:sldId id="265" r:id="rId21"/>
    <p:sldId id="275" r:id="rId22"/>
    <p:sldId id="276" r:id="rId23"/>
    <p:sldId id="277" r:id="rId24"/>
    <p:sldId id="278" r:id="rId25"/>
    <p:sldId id="279" r:id="rId26"/>
    <p:sldId id="281" r:id="rId27"/>
    <p:sldId id="282" r:id="rId28"/>
    <p:sldId id="3169" r:id="rId29"/>
    <p:sldId id="3170" r:id="rId30"/>
    <p:sldId id="3172" r:id="rId31"/>
    <p:sldId id="3173" r:id="rId32"/>
    <p:sldId id="3174" r:id="rId33"/>
    <p:sldId id="3175" r:id="rId34"/>
    <p:sldId id="3176" r:id="rId35"/>
    <p:sldId id="3177" r:id="rId36"/>
    <p:sldId id="3178" r:id="rId37"/>
    <p:sldId id="3179" r:id="rId38"/>
    <p:sldId id="3180" r:id="rId39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546" userDrawn="1">
          <p15:clr>
            <a:srgbClr val="A4A3A4"/>
          </p15:clr>
        </p15:guide>
        <p15:guide id="4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733FB0-C795-4701-617C-F6976A6AC5B8}" name="Takaaki Masaki" initials="TM" userId="S::tmasaki@worldbank.org::56a88eee-ec65-40f9-8642-be59fd24ba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345"/>
    <a:srgbClr val="595959"/>
    <a:srgbClr val="9EC060"/>
    <a:srgbClr val="FF99FF"/>
    <a:srgbClr val="6736F2"/>
    <a:srgbClr val="9000D0"/>
    <a:srgbClr val="D679FF"/>
    <a:srgbClr val="FF9999"/>
    <a:srgbClr val="0A5CB6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854D024-8FF7-452B-B2F9-8E2041F90BBF}" v="168" dt="2024-04-16T06:50:05.4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1290" y="-168"/>
      </p:cViewPr>
      <p:guideLst>
        <p:guide orient="horz" pos="254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viewProps" Target="viewProps.xml"/><Relationship Id="rId48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microsoft.com/office/2016/11/relationships/changesInfo" Target="changesInfos/changesInfo1.xml"/><Relationship Id="rId20" Type="http://schemas.openxmlformats.org/officeDocument/2006/relationships/slide" Target="slides/slide13.xml"/><Relationship Id="rId41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kaaki Masaki" userId="S::tmasaki@worldbank.org::56a88eee-ec65-40f9-8642-be59fd24ba9b" providerId="AD" clId="Web-{4FED1BA9-A2ED-EF1A-3CD7-9330EEC9F2F2}"/>
    <pc:docChg chg="addSld modSld sldOrd">
      <pc:chgData name="Takaaki Masaki" userId="S::tmasaki@worldbank.org::56a88eee-ec65-40f9-8642-be59fd24ba9b" providerId="AD" clId="Web-{4FED1BA9-A2ED-EF1A-3CD7-9330EEC9F2F2}" dt="2022-03-10T07:15:38.774" v="28" actId="20577"/>
      <pc:docMkLst>
        <pc:docMk/>
      </pc:docMkLst>
      <pc:sldChg chg="delSp modSp">
        <pc:chgData name="Takaaki Masaki" userId="S::tmasaki@worldbank.org::56a88eee-ec65-40f9-8642-be59fd24ba9b" providerId="AD" clId="Web-{4FED1BA9-A2ED-EF1A-3CD7-9330EEC9F2F2}" dt="2022-03-10T07:15:05.758" v="18" actId="1076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4FED1BA9-A2ED-EF1A-3CD7-9330EEC9F2F2}" dt="2022-03-10T07:15:05.758" v="18" actId="1076"/>
          <ac:spMkLst>
            <pc:docMk/>
            <pc:sldMk cId="2382116385" sldId="326"/>
            <ac:spMk id="2" creationId="{E01226A3-FD12-4BA7-ABF5-9D408688073E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47.930" v="5"/>
          <ac:spMkLst>
            <pc:docMk/>
            <pc:sldMk cId="2382116385" sldId="326"/>
            <ac:spMk id="3" creationId="{3EE0DA0E-4180-4226-A6C5-B8C9859EB37D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4.711" v="7"/>
          <ac:spMkLst>
            <pc:docMk/>
            <pc:sldMk cId="2382116385" sldId="326"/>
            <ac:spMk id="4" creationId="{1EE6E14C-DFEC-4A41-972C-3C099E1C11EF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0.258" v="6"/>
          <ac:spMkLst>
            <pc:docMk/>
            <pc:sldMk cId="2382116385" sldId="326"/>
            <ac:spMk id="5" creationId="{690978AD-00A2-4582-B389-CFB3FB3E3D1D}"/>
          </ac:spMkLst>
        </pc:spChg>
      </pc:sldChg>
      <pc:sldChg chg="add replId">
        <pc:chgData name="Takaaki Masaki" userId="S::tmasaki@worldbank.org::56a88eee-ec65-40f9-8642-be59fd24ba9b" providerId="AD" clId="Web-{4FED1BA9-A2ED-EF1A-3CD7-9330EEC9F2F2}" dt="2022-03-10T07:14:19.930" v="0"/>
        <pc:sldMkLst>
          <pc:docMk/>
          <pc:sldMk cId="4122011094" sldId="365"/>
        </pc:sldMkLst>
      </pc:sldChg>
      <pc:sldChg chg="modSp add ord">
        <pc:chgData name="Takaaki Masaki" userId="S::tmasaki@worldbank.org::56a88eee-ec65-40f9-8642-be59fd24ba9b" providerId="AD" clId="Web-{4FED1BA9-A2ED-EF1A-3CD7-9330EEC9F2F2}" dt="2022-03-10T07:15:38.774" v="28" actId="20577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4FED1BA9-A2ED-EF1A-3CD7-9330EEC9F2F2}" dt="2022-03-10T07:15:38.774" v="28" actId="20577"/>
          <ac:spMkLst>
            <pc:docMk/>
            <pc:sldMk cId="4043904794" sldId="366"/>
            <ac:spMk id="2" creationId="{E01226A3-FD12-4BA7-ABF5-9D408688073E}"/>
          </ac:spMkLst>
        </pc:spChg>
      </pc:sldChg>
      <pc:sldMasterChg chg="addSldLayout">
        <pc:chgData name="Takaaki Masaki" userId="S::tmasaki@worldbank.org::56a88eee-ec65-40f9-8642-be59fd24ba9b" providerId="AD" clId="Web-{4FED1BA9-A2ED-EF1A-3CD7-9330EEC9F2F2}" dt="2022-03-10T07:15:27.743" v="19"/>
        <pc:sldMasterMkLst>
          <pc:docMk/>
          <pc:sldMasterMk cId="0" sldId="2147485265"/>
        </pc:sldMasterMkLst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1255986698" sldId="2147485525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877033691" sldId="2147485526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3620978242" sldId="2147485527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2542283950" sldId="2147485528"/>
          </pc:sldLayoutMkLst>
        </pc:sldLayoutChg>
      </pc:sldMasterChg>
    </pc:docChg>
  </pc:docChgLst>
  <pc:docChgLst>
    <pc:chgData name="Koichi Ito" userId="S::koichi19960406_gmail.com#ext#@worldbankgroup.onmicrosoft.com::f9ef8c51-761c-4d11-abde-96febf25f02b" providerId="AD" clId="Web-{22CF6156-6EF2-5ECD-CA4A-2792A35FDE58}"/>
    <pc:docChg chg="modSld">
      <pc:chgData name="Koichi Ito" userId="S::koichi19960406_gmail.com#ext#@worldbankgroup.onmicrosoft.com::f9ef8c51-761c-4d11-abde-96febf25f02b" providerId="AD" clId="Web-{22CF6156-6EF2-5ECD-CA4A-2792A35FDE58}" dt="2022-02-01T08:16:29.960" v="2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2CF6156-6EF2-5ECD-CA4A-2792A35FDE58}" dt="2022-02-01T08:16:29.960" v="2" actId="20577"/>
        <pc:sldMkLst>
          <pc:docMk/>
          <pc:sldMk cId="1796130260" sldId="279"/>
        </pc:sldMkLst>
        <pc:spChg chg="mod">
          <ac:chgData name="Koichi Ito" userId="S::koichi19960406_gmail.com#ext#@worldbankgroup.onmicrosoft.com::f9ef8c51-761c-4d11-abde-96febf25f02b" providerId="AD" clId="Web-{22CF6156-6EF2-5ECD-CA4A-2792A35FDE58}" dt="2022-02-01T08:16:29.960" v="2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Ito Koichi" userId="7c59a57e28e385d5" providerId="LiveId" clId="{7BE1A0C3-347C-9343-AD50-5497B70087AB}"/>
    <pc:docChg chg="undo redo custSel addSld delSld modSld sldOrd">
      <pc:chgData name="Ito Koichi" userId="7c59a57e28e385d5" providerId="LiveId" clId="{7BE1A0C3-347C-9343-AD50-5497B70087AB}" dt="2022-03-15T03:00:01.039" v="10346" actId="20577"/>
      <pc:docMkLst>
        <pc:docMk/>
      </pc:docMkLst>
      <pc:sldChg chg="modSp">
        <pc:chgData name="Ito Koichi" userId="7c59a57e28e385d5" providerId="LiveId" clId="{7BE1A0C3-347C-9343-AD50-5497B70087AB}" dt="2022-02-02T01:00:13.085" v="3554"/>
        <pc:sldMkLst>
          <pc:docMk/>
          <pc:sldMk cId="3352592262" sldId="257"/>
        </pc:sldMkLst>
        <pc:spChg chg="mod">
          <ac:chgData name="Ito Koichi" userId="7c59a57e28e385d5" providerId="LiveId" clId="{7BE1A0C3-347C-9343-AD50-5497B70087AB}" dt="2022-02-02T01:00:13.085" v="3554"/>
          <ac:spMkLst>
            <pc:docMk/>
            <pc:sldMk cId="3352592262" sldId="257"/>
            <ac:spMk id="4" creationId="{B4DB4F7A-91EE-4B5D-A489-169E2BEF08BF}"/>
          </ac:spMkLst>
        </pc:spChg>
      </pc:sldChg>
      <pc:sldChg chg="modSp mod">
        <pc:chgData name="Ito Koichi" userId="7c59a57e28e385d5" providerId="LiveId" clId="{7BE1A0C3-347C-9343-AD50-5497B70087AB}" dt="2022-01-24T04:39:29.892" v="76"/>
        <pc:sldMkLst>
          <pc:docMk/>
          <pc:sldMk cId="363020870" sldId="258"/>
        </pc:sldMkLst>
        <pc:spChg chg="mod">
          <ac:chgData name="Ito Koichi" userId="7c59a57e28e385d5" providerId="LiveId" clId="{7BE1A0C3-347C-9343-AD50-5497B70087AB}" dt="2022-01-24T04:39:29.892" v="76"/>
          <ac:spMkLst>
            <pc:docMk/>
            <pc:sldMk cId="363020870" sldId="258"/>
            <ac:spMk id="2" creationId="{E01226A3-FD12-4BA7-ABF5-9D408688073E}"/>
          </ac:spMkLst>
        </pc:spChg>
      </pc:sldChg>
      <pc:sldChg chg="del">
        <pc:chgData name="Ito Koichi" userId="7c59a57e28e385d5" providerId="LiveId" clId="{7BE1A0C3-347C-9343-AD50-5497B70087AB}" dt="2022-01-24T04:24:21.505" v="24" actId="2696"/>
        <pc:sldMkLst>
          <pc:docMk/>
          <pc:sldMk cId="34186525" sldId="259"/>
        </pc:sldMkLst>
      </pc:sldChg>
      <pc:sldChg chg="addSp delSp modSp mod">
        <pc:chgData name="Ito Koichi" userId="7c59a57e28e385d5" providerId="LiveId" clId="{7BE1A0C3-347C-9343-AD50-5497B70087AB}" dt="2022-02-06T05:51:58.790" v="8384" actId="113"/>
        <pc:sldMkLst>
          <pc:docMk/>
          <pc:sldMk cId="3961101582" sldId="260"/>
        </pc:sldMkLst>
        <pc:spChg chg="mod">
          <ac:chgData name="Ito Koichi" userId="7c59a57e28e385d5" providerId="LiveId" clId="{7BE1A0C3-347C-9343-AD50-5497B70087AB}" dt="2022-01-24T04:30:03.823" v="60"/>
          <ac:spMkLst>
            <pc:docMk/>
            <pc:sldMk cId="3961101582" sldId="260"/>
            <ac:spMk id="2" creationId="{BFA593CE-D009-491F-9B8E-186C1CE55904}"/>
          </ac:spMkLst>
        </pc:spChg>
        <pc:spChg chg="mod">
          <ac:chgData name="Ito Koichi" userId="7c59a57e28e385d5" providerId="LiveId" clId="{7BE1A0C3-347C-9343-AD50-5497B70087AB}" dt="2022-02-02T01:00:36.586" v="3555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Ito Koichi" userId="7c59a57e28e385d5" providerId="LiveId" clId="{7BE1A0C3-347C-9343-AD50-5497B70087AB}" dt="2022-02-06T05:51:53.005" v="8381" actId="11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Ito Koichi" userId="7c59a57e28e385d5" providerId="LiveId" clId="{7BE1A0C3-347C-9343-AD50-5497B70087AB}" dt="2022-02-06T05:51:56.926" v="8383" actId="11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Ito Koichi" userId="7c59a57e28e385d5" providerId="LiveId" clId="{7BE1A0C3-347C-9343-AD50-5497B70087AB}" dt="2022-02-06T05:51:55.143" v="8382" actId="11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Ito Koichi" userId="7c59a57e28e385d5" providerId="LiveId" clId="{7BE1A0C3-347C-9343-AD50-5497B70087AB}" dt="2022-02-06T05:51:58.790" v="8384" actId="113"/>
          <ac:spMkLst>
            <pc:docMk/>
            <pc:sldMk cId="3961101582" sldId="260"/>
            <ac:spMk id="13" creationId="{E487931E-8006-4906-9028-C01C28E93ABC}"/>
          </ac:spMkLst>
        </pc:spChg>
        <pc:picChg chg="add del mod modCrop">
          <ac:chgData name="Ito Koichi" userId="7c59a57e28e385d5" providerId="LiveId" clId="{7BE1A0C3-347C-9343-AD50-5497B70087AB}" dt="2022-02-02T08:14:15.069" v="4846" actId="1076"/>
          <ac:picMkLst>
            <pc:docMk/>
            <pc:sldMk cId="3961101582" sldId="260"/>
            <ac:picMk id="6" creationId="{E244F4A8-6704-9243-9EA5-78D02CA81C60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4" creationId="{6288863C-56FC-42BE-8808-E015F6AD1103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5" creationId="{3266C12F-7B37-BA43-8F50-A6CD031FA368}"/>
          </ac:picMkLst>
        </pc:picChg>
        <pc:picChg chg="add del mod">
          <ac:chgData name="Ito Koichi" userId="7c59a57e28e385d5" providerId="LiveId" clId="{7BE1A0C3-347C-9343-AD50-5497B70087AB}" dt="2022-01-24T04:27:07.746" v="47" actId="931"/>
          <ac:picMkLst>
            <pc:docMk/>
            <pc:sldMk cId="3961101582" sldId="260"/>
            <ac:picMk id="17" creationId="{440586B1-C889-874D-B77B-8C18E38343B8}"/>
          </ac:picMkLst>
        </pc:picChg>
        <pc:picChg chg="add del mod">
          <ac:chgData name="Ito Koichi" userId="7c59a57e28e385d5" providerId="LiveId" clId="{7BE1A0C3-347C-9343-AD50-5497B70087AB}" dt="2022-01-24T04:28:30.676" v="52" actId="931"/>
          <ac:picMkLst>
            <pc:docMk/>
            <pc:sldMk cId="3961101582" sldId="260"/>
            <ac:picMk id="19" creationId="{455B8CDD-5219-844E-888B-947F5417B9E1}"/>
          </ac:picMkLst>
        </pc:picChg>
        <pc:picChg chg="add del mod">
          <ac:chgData name="Ito Koichi" userId="7c59a57e28e385d5" providerId="LiveId" clId="{7BE1A0C3-347C-9343-AD50-5497B70087AB}" dt="2022-01-24T04:28:49.941" v="54" actId="931"/>
          <ac:picMkLst>
            <pc:docMk/>
            <pc:sldMk cId="3961101582" sldId="260"/>
            <ac:picMk id="21" creationId="{2CD22F69-C4CF-FA48-AC79-F4156D47B298}"/>
          </ac:picMkLst>
        </pc:picChg>
        <pc:picChg chg="add del mod">
          <ac:chgData name="Ito Koichi" userId="7c59a57e28e385d5" providerId="LiveId" clId="{7BE1A0C3-347C-9343-AD50-5497B70087AB}" dt="2022-01-24T04:28:57.427" v="56" actId="931"/>
          <ac:picMkLst>
            <pc:docMk/>
            <pc:sldMk cId="3961101582" sldId="260"/>
            <ac:picMk id="23" creationId="{3314DFE0-8A87-BD44-B59E-1B7374E310C5}"/>
          </ac:picMkLst>
        </pc:picChg>
        <pc:picChg chg="add del mod">
          <ac:chgData name="Ito Koichi" userId="7c59a57e28e385d5" providerId="LiveId" clId="{7BE1A0C3-347C-9343-AD50-5497B70087AB}" dt="2022-01-24T04:29:32.408" v="58" actId="931"/>
          <ac:picMkLst>
            <pc:docMk/>
            <pc:sldMk cId="3961101582" sldId="260"/>
            <ac:picMk id="25" creationId="{B7960D6C-D325-994C-8952-1A8164C0FC5A}"/>
          </ac:picMkLst>
        </pc:picChg>
      </pc:sldChg>
      <pc:sldChg chg="modSp add mod">
        <pc:chgData name="Ito Koichi" userId="7c59a57e28e385d5" providerId="LiveId" clId="{7BE1A0C3-347C-9343-AD50-5497B70087AB}" dt="2022-01-24T04:39:38.725" v="81" actId="113"/>
        <pc:sldMkLst>
          <pc:docMk/>
          <pc:sldMk cId="553589282" sldId="261"/>
        </pc:sldMkLst>
        <pc:spChg chg="mod">
          <ac:chgData name="Ito Koichi" userId="7c59a57e28e385d5" providerId="LiveId" clId="{7BE1A0C3-347C-9343-AD50-5497B70087AB}" dt="2022-01-24T04:39:38.725" v="81" actId="113"/>
          <ac:spMkLst>
            <pc:docMk/>
            <pc:sldMk cId="553589282" sldId="261"/>
            <ac:spMk id="2" creationId="{E01226A3-FD12-4BA7-ABF5-9D408688073E}"/>
          </ac:spMkLst>
        </pc:spChg>
      </pc:sldChg>
      <pc:sldChg chg="addSp delSp modSp new mod">
        <pc:chgData name="Ito Koichi" userId="7c59a57e28e385d5" providerId="LiveId" clId="{7BE1A0C3-347C-9343-AD50-5497B70087AB}" dt="2022-02-06T05:52:16.225" v="8386" actId="113"/>
        <pc:sldMkLst>
          <pc:docMk/>
          <pc:sldMk cId="2126581259" sldId="262"/>
        </pc:sldMkLst>
        <pc:spChg chg="mod">
          <ac:chgData name="Ito Koichi" userId="7c59a57e28e385d5" providerId="LiveId" clId="{7BE1A0C3-347C-9343-AD50-5497B70087AB}" dt="2022-01-24T04:40:15.199" v="83"/>
          <ac:spMkLst>
            <pc:docMk/>
            <pc:sldMk cId="2126581259" sldId="262"/>
            <ac:spMk id="2" creationId="{5F51176E-0EB4-404D-9296-04C17AE93B13}"/>
          </ac:spMkLst>
        </pc:spChg>
        <pc:spChg chg="del">
          <ac:chgData name="Ito Koichi" userId="7c59a57e28e385d5" providerId="LiveId" clId="{7BE1A0C3-347C-9343-AD50-5497B70087AB}" dt="2022-01-24T06:15:29.174" v="260" actId="478"/>
          <ac:spMkLst>
            <pc:docMk/>
            <pc:sldMk cId="2126581259" sldId="262"/>
            <ac:spMk id="3" creationId="{D692931B-DA42-D342-A9CA-6CAB8F2C81A2}"/>
          </ac:spMkLst>
        </pc:spChg>
        <pc:spChg chg="mod">
          <ac:chgData name="Ito Koichi" userId="7c59a57e28e385d5" providerId="LiveId" clId="{7BE1A0C3-347C-9343-AD50-5497B70087AB}" dt="2022-02-02T01:00:40.870" v="3556"/>
          <ac:spMkLst>
            <pc:docMk/>
            <pc:sldMk cId="2126581259" sldId="262"/>
            <ac:spMk id="4" creationId="{FB81E4D4-6F47-1D41-92EA-7A7858DD01EB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8" creationId="{4D10D322-EF40-0744-B5B3-90A192ECFD43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9" creationId="{7830D813-2546-3142-8C1C-A3F7206EA378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0" creationId="{97E79E67-236F-A04A-A2FB-C4D4FA2D9CB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1" creationId="{9967711C-4EA9-6145-8B8A-C65ADFC4A2C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2" creationId="{0F590AD0-C866-9742-95BF-694F739C30A6}"/>
          </ac:spMkLst>
        </pc:spChg>
        <pc:picChg chg="add mod">
          <ac:chgData name="Ito Koichi" userId="7c59a57e28e385d5" providerId="LiveId" clId="{7BE1A0C3-347C-9343-AD50-5497B70087AB}" dt="2022-01-24T06:13:22.028" v="232" actId="1076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 add mod">
        <pc:chgData name="Ito Koichi" userId="7c59a57e28e385d5" providerId="LiveId" clId="{7BE1A0C3-347C-9343-AD50-5497B70087AB}" dt="2022-01-24T06:19:32.330" v="267" actId="113"/>
        <pc:sldMkLst>
          <pc:docMk/>
          <pc:sldMk cId="194667375" sldId="263"/>
        </pc:sldMkLst>
        <pc:spChg chg="mod">
          <ac:chgData name="Ito Koichi" userId="7c59a57e28e385d5" providerId="LiveId" clId="{7BE1A0C3-347C-9343-AD50-5497B70087AB}" dt="2022-01-24T06:19:32.330" v="267" actId="113"/>
          <ac:spMkLst>
            <pc:docMk/>
            <pc:sldMk cId="194667375" sldId="263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6T05:52:30.928" v="8387" actId="207"/>
        <pc:sldMkLst>
          <pc:docMk/>
          <pc:sldMk cId="25861721" sldId="264"/>
        </pc:sldMkLst>
        <pc:spChg chg="mod">
          <ac:chgData name="Ito Koichi" userId="7c59a57e28e385d5" providerId="LiveId" clId="{7BE1A0C3-347C-9343-AD50-5497B70087AB}" dt="2022-01-24T06:23:46.250" v="269"/>
          <ac:spMkLst>
            <pc:docMk/>
            <pc:sldMk cId="25861721" sldId="264"/>
            <ac:spMk id="2" creationId="{5F51176E-0EB4-404D-9296-04C17AE93B13}"/>
          </ac:spMkLst>
        </pc:spChg>
        <pc:spChg chg="mod">
          <ac:chgData name="Ito Koichi" userId="7c59a57e28e385d5" providerId="LiveId" clId="{7BE1A0C3-347C-9343-AD50-5497B70087AB}" dt="2022-02-02T01:00:49.089" v="3558"/>
          <ac:spMkLst>
            <pc:docMk/>
            <pc:sldMk cId="25861721" sldId="264"/>
            <ac:spMk id="4" creationId="{FB81E4D4-6F47-1D41-92EA-7A7858DD01EB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8" creationId="{4D10D322-EF40-0744-B5B3-90A192ECFD43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9" creationId="{7830D813-2546-3142-8C1C-A3F7206EA378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0" creationId="{97E79E67-236F-A04A-A2FB-C4D4FA2D9CB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1" creationId="{9967711C-4EA9-6145-8B8A-C65ADFC4A2C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2" creationId="{0F590AD0-C866-9742-95BF-694F739C30A6}"/>
          </ac:spMkLst>
        </pc:spChg>
        <pc:graphicFrameChg chg="add mod modGraphic">
          <ac:chgData name="Ito Koichi" userId="7c59a57e28e385d5" providerId="LiveId" clId="{7BE1A0C3-347C-9343-AD50-5497B70087AB}" dt="2022-02-06T05:52:30.928" v="8387" actId="207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del">
          <ac:chgData name="Ito Koichi" userId="7c59a57e28e385d5" providerId="LiveId" clId="{7BE1A0C3-347C-9343-AD50-5497B70087AB}" dt="2022-01-24T06:26:32.522" v="270" actId="478"/>
          <ac:picMkLst>
            <pc:docMk/>
            <pc:sldMk cId="25861721" sldId="264"/>
            <ac:picMk id="7" creationId="{47192CDE-9FF2-F844-978E-F551BE776F82}"/>
          </ac:picMkLst>
        </pc:picChg>
        <pc:picChg chg="add del mod">
          <ac:chgData name="Ito Koichi" userId="7c59a57e28e385d5" providerId="LiveId" clId="{7BE1A0C3-347C-9343-AD50-5497B70087AB}" dt="2022-01-25T03:17:08.992" v="446" actId="478"/>
          <ac:picMkLst>
            <pc:docMk/>
            <pc:sldMk cId="25861721" sldId="264"/>
            <ac:picMk id="15" creationId="{9315E443-EEAB-8B4D-8F6D-1641BEB5CF86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7" creationId="{3896BD93-0439-BE4E-8315-0EADC83453D8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8" creationId="{431CA168-EC67-D04B-BB00-3ECB9327E24D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0" creationId="{7A995FE4-ACEE-3245-A884-5B6369443F45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2" creationId="{D268CF58-F2FB-1B48-99CD-8A910058B2BC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4" creationId="{6798708C-EE63-8C45-8CA5-C8159AF1B7BA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6" creationId="{35D99616-398C-094A-93B5-46B590A938C5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7" creationId="{F86DC66A-023F-A84D-9F7F-C4C45E518462}"/>
          </ac:picMkLst>
        </pc:picChg>
        <pc:cxnChg chg="add del mod">
          <ac:chgData name="Ito Koichi" userId="7c59a57e28e385d5" providerId="LiveId" clId="{7BE1A0C3-347C-9343-AD50-5497B70087AB}" dt="2022-01-25T02:56:16.904" v="275" actId="478"/>
          <ac:cxnSpMkLst>
            <pc:docMk/>
            <pc:sldMk cId="25861721" sldId="264"/>
            <ac:cxnSpMk id="6" creationId="{9D943CAB-E6EC-1845-92E8-BAA74B48DDCE}"/>
          </ac:cxnSpMkLst>
        </pc:cxnChg>
      </pc:sldChg>
      <pc:sldChg chg="addSp delSp modSp new mod">
        <pc:chgData name="Ito Koichi" userId="7c59a57e28e385d5" providerId="LiveId" clId="{7BE1A0C3-347C-9343-AD50-5497B70087AB}" dt="2022-02-06T05:52:38.656" v="8388" actId="207"/>
        <pc:sldMkLst>
          <pc:docMk/>
          <pc:sldMk cId="4156061048" sldId="265"/>
        </pc:sldMkLst>
        <pc:spChg chg="mod">
          <ac:chgData name="Ito Koichi" userId="7c59a57e28e385d5" providerId="LiveId" clId="{7BE1A0C3-347C-9343-AD50-5497B70087AB}" dt="2022-01-25T03:36:11.658" v="544"/>
          <ac:spMkLst>
            <pc:docMk/>
            <pc:sldMk cId="4156061048" sldId="265"/>
            <ac:spMk id="2" creationId="{6C614DC0-D4A0-3F4E-B938-8EE44C13F712}"/>
          </ac:spMkLst>
        </pc:spChg>
        <pc:spChg chg="del">
          <ac:chgData name="Ito Koichi" userId="7c59a57e28e385d5" providerId="LiveId" clId="{7BE1A0C3-347C-9343-AD50-5497B70087AB}" dt="2022-01-25T03:36:37.633" v="548" actId="478"/>
          <ac:spMkLst>
            <pc:docMk/>
            <pc:sldMk cId="4156061048" sldId="265"/>
            <ac:spMk id="3" creationId="{8EACD46B-C673-484E-A480-BDCD7384050A}"/>
          </ac:spMkLst>
        </pc:spChg>
        <pc:spChg chg="mod">
          <ac:chgData name="Ito Koichi" userId="7c59a57e28e385d5" providerId="LiveId" clId="{7BE1A0C3-347C-9343-AD50-5497B70087AB}" dt="2022-02-02T01:01:10.533" v="3567"/>
          <ac:spMkLst>
            <pc:docMk/>
            <pc:sldMk cId="4156061048" sldId="265"/>
            <ac:spMk id="4" creationId="{0D9D2DF9-2801-AF42-9FAF-2EA7A2C7FE47}"/>
          </ac:spMkLst>
        </pc:spChg>
        <pc:spChg chg="add mod">
          <ac:chgData name="Ito Koichi" userId="7c59a57e28e385d5" providerId="LiveId" clId="{7BE1A0C3-347C-9343-AD50-5497B70087AB}" dt="2022-02-02T01:01:08.957" v="3566" actId="20577"/>
          <ac:spMkLst>
            <pc:docMk/>
            <pc:sldMk cId="4156061048" sldId="265"/>
            <ac:spMk id="6" creationId="{E646D711-9F9D-134B-A368-2784845AFDAB}"/>
          </ac:spMkLst>
        </pc:spChg>
        <pc:spChg chg="add mod">
          <ac:chgData name="Ito Koichi" userId="7c59a57e28e385d5" providerId="LiveId" clId="{7BE1A0C3-347C-9343-AD50-5497B70087AB}" dt="2022-01-25T05:33:05.642" v="872" actId="14100"/>
          <ac:spMkLst>
            <pc:docMk/>
            <pc:sldMk cId="4156061048" sldId="265"/>
            <ac:spMk id="7" creationId="{F8DCAB6B-7F21-914E-AEF1-12ABB1CA0813}"/>
          </ac:spMkLst>
        </pc:spChg>
        <pc:spChg chg="add mod">
          <ac:chgData name="Ito Koichi" userId="7c59a57e28e385d5" providerId="LiveId" clId="{7BE1A0C3-347C-9343-AD50-5497B70087AB}" dt="2022-01-25T03:38:24.780" v="566" actId="122"/>
          <ac:spMkLst>
            <pc:docMk/>
            <pc:sldMk cId="4156061048" sldId="265"/>
            <ac:spMk id="8" creationId="{D33190D0-C22E-0244-8462-91E91FAC6E23}"/>
          </ac:spMkLst>
        </pc:spChg>
        <pc:spChg chg="add mod">
          <ac:chgData name="Ito Koichi" userId="7c59a57e28e385d5" providerId="LiveId" clId="{7BE1A0C3-347C-9343-AD50-5497B70087AB}" dt="2022-01-25T03:38:54.464" v="575" actId="122"/>
          <ac:spMkLst>
            <pc:docMk/>
            <pc:sldMk cId="4156061048" sldId="265"/>
            <ac:spMk id="9" creationId="{8940C686-0F99-5347-8B23-1190803EE226}"/>
          </ac:spMkLst>
        </pc:spChg>
        <pc:spChg chg="add del mod">
          <ac:chgData name="Ito Koichi" userId="7c59a57e28e385d5" providerId="LiveId" clId="{7BE1A0C3-347C-9343-AD50-5497B70087AB}" dt="2022-01-25T03:54:47.222" v="619"/>
          <ac:spMkLst>
            <pc:docMk/>
            <pc:sldMk cId="4156061048" sldId="265"/>
            <ac:spMk id="24" creationId="{11C75935-8CF0-824A-AD71-3BFD6DCE5E24}"/>
          </ac:spMkLst>
        </pc:spChg>
        <pc:spChg chg="add del mod">
          <ac:chgData name="Ito Koichi" userId="7c59a57e28e385d5" providerId="LiveId" clId="{7BE1A0C3-347C-9343-AD50-5497B70087AB}" dt="2022-01-25T03:55:00.918" v="625" actId="47"/>
          <ac:spMkLst>
            <pc:docMk/>
            <pc:sldMk cId="4156061048" sldId="265"/>
            <ac:spMk id="25" creationId="{27F77F7A-0175-5940-BA48-23B58CEFE01B}"/>
          </ac:spMkLst>
        </pc:spChg>
        <pc:spChg chg="add del mod">
          <ac:chgData name="Ito Koichi" userId="7c59a57e28e385d5" providerId="LiveId" clId="{7BE1A0C3-347C-9343-AD50-5497B70087AB}" dt="2022-01-25T03:55:23.537" v="639" actId="478"/>
          <ac:spMkLst>
            <pc:docMk/>
            <pc:sldMk cId="4156061048" sldId="265"/>
            <ac:spMk id="26" creationId="{1B956691-E3CA-CB4C-A061-8E72250A25C7}"/>
          </ac:spMkLst>
        </pc:spChg>
        <pc:spChg chg="add del mod">
          <ac:chgData name="Ito Koichi" userId="7c59a57e28e385d5" providerId="LiveId" clId="{7BE1A0C3-347C-9343-AD50-5497B70087AB}" dt="2022-01-25T03:55:13.561" v="628" actId="478"/>
          <ac:spMkLst>
            <pc:docMk/>
            <pc:sldMk cId="4156061048" sldId="265"/>
            <ac:spMk id="27" creationId="{7D5893DC-BA8A-1E4B-B340-E136A7B16F11}"/>
          </ac:spMkLst>
        </pc:spChg>
        <pc:spChg chg="add del mod">
          <ac:chgData name="Ito Koichi" userId="7c59a57e28e385d5" providerId="LiveId" clId="{7BE1A0C3-347C-9343-AD50-5497B70087AB}" dt="2022-01-25T03:57:41.014" v="660" actId="767"/>
          <ac:spMkLst>
            <pc:docMk/>
            <pc:sldMk cId="4156061048" sldId="265"/>
            <ac:spMk id="28" creationId="{2A4EE622-46C7-6747-9A08-C5930C654304}"/>
          </ac:spMkLst>
        </pc:spChg>
        <pc:spChg chg="add del mod">
          <ac:chgData name="Ito Koichi" userId="7c59a57e28e385d5" providerId="LiveId" clId="{7BE1A0C3-347C-9343-AD50-5497B70087AB}" dt="2022-01-25T04:01:22.177" v="706" actId="767"/>
          <ac:spMkLst>
            <pc:docMk/>
            <pc:sldMk cId="4156061048" sldId="265"/>
            <ac:spMk id="29" creationId="{BDAA5EE2-43ED-9348-96A9-9BD53AA344FB}"/>
          </ac:spMkLst>
        </pc:spChg>
        <pc:spChg chg="add mod">
          <ac:chgData name="Ito Koichi" userId="7c59a57e28e385d5" providerId="LiveId" clId="{7BE1A0C3-347C-9343-AD50-5497B70087AB}" dt="2022-02-06T05:52:38.656" v="8388" actId="207"/>
          <ac:spMkLst>
            <pc:docMk/>
            <pc:sldMk cId="4156061048" sldId="265"/>
            <ac:spMk id="31" creationId="{46856D70-A0FB-D440-A34C-B608A10BE677}"/>
          </ac:spMkLst>
        </pc:spChg>
        <pc:picChg chg="add mod modCrop">
          <ac:chgData name="Ito Koichi" userId="7c59a57e28e385d5" providerId="LiveId" clId="{7BE1A0C3-347C-9343-AD50-5497B70087AB}" dt="2022-01-25T03:55:47.810" v="654" actId="1076"/>
          <ac:picMkLst>
            <pc:docMk/>
            <pc:sldMk cId="4156061048" sldId="265"/>
            <ac:picMk id="22" creationId="{F04F8952-6327-994E-9CB3-70EDDEAC1D12}"/>
          </ac:picMkLst>
        </pc:picChg>
        <pc:picChg chg="add mod modCrop">
          <ac:chgData name="Ito Koichi" userId="7c59a57e28e385d5" providerId="LiveId" clId="{7BE1A0C3-347C-9343-AD50-5497B70087AB}" dt="2022-01-25T04:02:38.330" v="760" actId="1076"/>
          <ac:picMkLst>
            <pc:docMk/>
            <pc:sldMk cId="4156061048" sldId="265"/>
            <ac:picMk id="23" creationId="{FC3AF28F-66E0-0242-85B7-BFD89CE39962}"/>
          </ac:picMkLst>
        </pc:picChg>
        <pc:cxnChg chg="add mod">
          <ac:chgData name="Ito Koichi" userId="7c59a57e28e385d5" providerId="LiveId" clId="{7BE1A0C3-347C-9343-AD50-5497B70087AB}" dt="2022-02-04T12:12:43.407" v="6612" actId="1076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 add mod">
        <pc:chgData name="Ito Koichi" userId="7c59a57e28e385d5" providerId="LiveId" clId="{7BE1A0C3-347C-9343-AD50-5497B70087AB}" dt="2022-01-25T03:32:52.627" v="543" actId="113"/>
        <pc:sldMkLst>
          <pc:docMk/>
          <pc:sldMk cId="351976269" sldId="266"/>
        </pc:sldMkLst>
        <pc:spChg chg="mod">
          <ac:chgData name="Ito Koichi" userId="7c59a57e28e385d5" providerId="LiveId" clId="{7BE1A0C3-347C-9343-AD50-5497B70087AB}" dt="2022-01-25T03:32:52.627" v="543" actId="113"/>
          <ac:spMkLst>
            <pc:docMk/>
            <pc:sldMk cId="351976269" sldId="26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1-25T05:39:46.428" v="1088" actId="113"/>
        <pc:sldMkLst>
          <pc:docMk/>
          <pc:sldMk cId="1901022434" sldId="267"/>
        </pc:sldMkLst>
        <pc:spChg chg="mod">
          <ac:chgData name="Ito Koichi" userId="7c59a57e28e385d5" providerId="LiveId" clId="{7BE1A0C3-347C-9343-AD50-5497B70087AB}" dt="2022-01-25T05:39:46.428" v="1088" actId="113"/>
          <ac:spMkLst>
            <pc:docMk/>
            <pc:sldMk cId="1901022434" sldId="267"/>
            <ac:spMk id="2" creationId="{E01226A3-FD12-4BA7-ABF5-9D408688073E}"/>
          </ac:spMkLst>
        </pc:spChg>
      </pc:sldChg>
      <pc:sldChg chg="modSp new del mod">
        <pc:chgData name="Ito Koichi" userId="7c59a57e28e385d5" providerId="LiveId" clId="{7BE1A0C3-347C-9343-AD50-5497B70087AB}" dt="2022-01-25T03:37:01.365" v="556" actId="2696"/>
        <pc:sldMkLst>
          <pc:docMk/>
          <pc:sldMk cId="3267502280" sldId="267"/>
        </pc:sldMkLst>
        <pc:spChg chg="mod">
          <ac:chgData name="Ito Koichi" userId="7c59a57e28e385d5" providerId="LiveId" clId="{7BE1A0C3-347C-9343-AD50-5497B70087AB}" dt="2022-01-25T03:36:52.954" v="551" actId="20577"/>
          <ac:spMkLst>
            <pc:docMk/>
            <pc:sldMk cId="3267502280" sldId="267"/>
            <ac:spMk id="3" creationId="{A8BB82A2-6609-7947-96B4-3F46F4C16D2E}"/>
          </ac:spMkLst>
        </pc:spChg>
        <pc:spChg chg="mod">
          <ac:chgData name="Ito Koichi" userId="7c59a57e28e385d5" providerId="LiveId" clId="{7BE1A0C3-347C-9343-AD50-5497B70087AB}" dt="2022-01-25T03:36:53.434" v="552" actId="20577"/>
          <ac:spMkLst>
            <pc:docMk/>
            <pc:sldMk cId="3267502280" sldId="267"/>
            <ac:spMk id="4" creationId="{FA46FC15-5F6C-9A42-80A3-FE6DA174A9D9}"/>
          </ac:spMkLst>
        </pc:spChg>
        <pc:spChg chg="mod">
          <ac:chgData name="Ito Koichi" userId="7c59a57e28e385d5" providerId="LiveId" clId="{7BE1A0C3-347C-9343-AD50-5497B70087AB}" dt="2022-01-25T03:36:50.731" v="549" actId="20577"/>
          <ac:spMkLst>
            <pc:docMk/>
            <pc:sldMk cId="3267502280" sldId="267"/>
            <ac:spMk id="5" creationId="{EE19D83B-0600-724E-9E66-821E3DBC8AD6}"/>
          </ac:spMkLst>
        </pc:spChg>
        <pc:spChg chg="mod">
          <ac:chgData name="Ito Koichi" userId="7c59a57e28e385d5" providerId="LiveId" clId="{7BE1A0C3-347C-9343-AD50-5497B70087AB}" dt="2022-01-25T03:36:52.388" v="550" actId="20577"/>
          <ac:spMkLst>
            <pc:docMk/>
            <pc:sldMk cId="3267502280" sldId="267"/>
            <ac:spMk id="6" creationId="{C7CB7906-EFC4-F949-BE6D-2AC7B71CF247}"/>
          </ac:spMkLst>
        </pc:spChg>
      </pc:sldChg>
      <pc:sldChg chg="addSp delSp modSp new mod">
        <pc:chgData name="Ito Koichi" userId="7c59a57e28e385d5" providerId="LiveId" clId="{7BE1A0C3-347C-9343-AD50-5497B70087AB}" dt="2022-02-02T01:01:15.432" v="3568"/>
        <pc:sldMkLst>
          <pc:docMk/>
          <pc:sldMk cId="4062278478" sldId="268"/>
        </pc:sldMkLst>
        <pc:spChg chg="mod">
          <ac:chgData name="Ito Koichi" userId="7c59a57e28e385d5" providerId="LiveId" clId="{7BE1A0C3-347C-9343-AD50-5497B70087AB}" dt="2022-01-25T05:40:07.754" v="1090"/>
          <ac:spMkLst>
            <pc:docMk/>
            <pc:sldMk cId="4062278478" sldId="268"/>
            <ac:spMk id="2" creationId="{7A4247B2-5249-5248-B8AE-A7B09D6710DC}"/>
          </ac:spMkLst>
        </pc:spChg>
        <pc:spChg chg="del">
          <ac:chgData name="Ito Koichi" userId="7c59a57e28e385d5" providerId="LiveId" clId="{7BE1A0C3-347C-9343-AD50-5497B70087AB}" dt="2022-01-25T05:46:43.556" v="1132" actId="478"/>
          <ac:spMkLst>
            <pc:docMk/>
            <pc:sldMk cId="4062278478" sldId="268"/>
            <ac:spMk id="3" creationId="{D5FE02B6-E99B-7A42-820C-6D40A545DCE2}"/>
          </ac:spMkLst>
        </pc:spChg>
        <pc:spChg chg="mod">
          <ac:chgData name="Ito Koichi" userId="7c59a57e28e385d5" providerId="LiveId" clId="{7BE1A0C3-347C-9343-AD50-5497B70087AB}" dt="2022-02-02T01:01:15.432" v="3568"/>
          <ac:spMkLst>
            <pc:docMk/>
            <pc:sldMk cId="4062278478" sldId="268"/>
            <ac:spMk id="4" creationId="{F0357929-02C2-C74C-A189-9F0C6DCC3C34}"/>
          </ac:spMkLst>
        </pc:spChg>
        <pc:spChg chg="add mod">
          <ac:chgData name="Ito Koichi" userId="7c59a57e28e385d5" providerId="LiveId" clId="{7BE1A0C3-347C-9343-AD50-5497B70087AB}" dt="2022-01-26T01:59:35.374" v="1375" actId="20577"/>
          <ac:spMkLst>
            <pc:docMk/>
            <pc:sldMk cId="4062278478" sldId="268"/>
            <ac:spMk id="8" creationId="{150B18A2-40EA-4543-91EF-FB5D1EA694B8}"/>
          </ac:spMkLst>
        </pc:spChg>
        <pc:spChg chg="add mod">
          <ac:chgData name="Ito Koichi" userId="7c59a57e28e385d5" providerId="LiveId" clId="{7BE1A0C3-347C-9343-AD50-5497B70087AB}" dt="2022-01-26T02:07:41.284" v="1425" actId="5793"/>
          <ac:spMkLst>
            <pc:docMk/>
            <pc:sldMk cId="4062278478" sldId="268"/>
            <ac:spMk id="9" creationId="{EF46FD93-006D-1841-9BF2-A76B949BB2B1}"/>
          </ac:spMkLst>
        </pc:spChg>
        <pc:spChg chg="add mod">
          <ac:chgData name="Ito Koichi" userId="7c59a57e28e385d5" providerId="LiveId" clId="{7BE1A0C3-347C-9343-AD50-5497B70087AB}" dt="2022-01-25T05:48:34.964" v="1194" actId="20577"/>
          <ac:spMkLst>
            <pc:docMk/>
            <pc:sldMk cId="4062278478" sldId="268"/>
            <ac:spMk id="10" creationId="{A5D1A0BB-C2B2-B64F-8DA3-211FB43442A7}"/>
          </ac:spMkLst>
        </pc:spChg>
        <pc:spChg chg="add mod">
          <ac:chgData name="Ito Koichi" userId="7c59a57e28e385d5" providerId="LiveId" clId="{7BE1A0C3-347C-9343-AD50-5497B70087AB}" dt="2022-01-25T05:48:37.877" v="1197" actId="20577"/>
          <ac:spMkLst>
            <pc:docMk/>
            <pc:sldMk cId="4062278478" sldId="268"/>
            <ac:spMk id="11" creationId="{C2C320BC-0EED-FE4E-A091-F96420DA7C32}"/>
          </ac:spMkLst>
        </pc:spChg>
        <pc:spChg chg="add del mod">
          <ac:chgData name="Ito Koichi" userId="7c59a57e28e385d5" providerId="LiveId" clId="{7BE1A0C3-347C-9343-AD50-5497B70087AB}" dt="2022-01-25T05:48:32.971" v="1191" actId="478"/>
          <ac:spMkLst>
            <pc:docMk/>
            <pc:sldMk cId="4062278478" sldId="268"/>
            <ac:spMk id="12" creationId="{64DEA824-3726-9D4B-9F0F-08797E87804C}"/>
          </ac:spMkLst>
        </pc:spChg>
        <pc:spChg chg="add del mod">
          <ac:chgData name="Ito Koichi" userId="7c59a57e28e385d5" providerId="LiveId" clId="{7BE1A0C3-347C-9343-AD50-5497B70087AB}" dt="2022-01-25T05:49:55.291" v="1228"/>
          <ac:spMkLst>
            <pc:docMk/>
            <pc:sldMk cId="4062278478" sldId="268"/>
            <ac:spMk id="19" creationId="{97C05ADF-DF18-3F43-B507-3CC42B726587}"/>
          </ac:spMkLst>
        </pc:spChg>
        <pc:graphicFrameChg chg="add del mod modGraphic">
          <ac:chgData name="Ito Koichi" userId="7c59a57e28e385d5" providerId="LiveId" clId="{7BE1A0C3-347C-9343-AD50-5497B70087AB}" dt="2022-01-25T05:45:52.619" v="1129" actId="478"/>
          <ac:graphicFrameMkLst>
            <pc:docMk/>
            <pc:sldMk cId="4062278478" sldId="268"/>
            <ac:graphicFrameMk id="6" creationId="{14BC8318-7517-BF44-84D1-6C76E6C3BF5D}"/>
          </ac:graphicFrameMkLst>
        </pc:graphicFrameChg>
        <pc:graphicFrameChg chg="add del modGraphic">
          <ac:chgData name="Ito Koichi" userId="7c59a57e28e385d5" providerId="LiveId" clId="{7BE1A0C3-347C-9343-AD50-5497B70087AB}" dt="2022-01-25T05:46:30.284" v="1131" actId="1032"/>
          <ac:graphicFrameMkLst>
            <pc:docMk/>
            <pc:sldMk cId="4062278478" sldId="268"/>
            <ac:graphicFrameMk id="7" creationId="{537E7807-3727-A149-A393-675A47C26AFF}"/>
          </ac:graphicFrameMkLst>
        </pc:graphicFrameChg>
        <pc:picChg chg="add mod">
          <ac:chgData name="Ito Koichi" userId="7c59a57e28e385d5" providerId="LiveId" clId="{7BE1A0C3-347C-9343-AD50-5497B70087AB}" dt="2022-01-26T01:58:09.592" v="1327" actId="1076"/>
          <ac:picMkLst>
            <pc:docMk/>
            <pc:sldMk cId="4062278478" sldId="268"/>
            <ac:picMk id="21" creationId="{7B1A0B26-22AE-0B48-9D0D-0A0AC1E263D8}"/>
          </ac:picMkLst>
        </pc:picChg>
        <pc:picChg chg="add mod">
          <ac:chgData name="Ito Koichi" userId="7c59a57e28e385d5" providerId="LiveId" clId="{7BE1A0C3-347C-9343-AD50-5497B70087AB}" dt="2022-01-26T02:08:39.908" v="1430" actId="1076"/>
          <ac:picMkLst>
            <pc:docMk/>
            <pc:sldMk cId="4062278478" sldId="268"/>
            <ac:picMk id="23" creationId="{7C4737B2-BEFF-1F41-A242-BD62ABD8FEB2}"/>
          </ac:picMkLst>
        </pc:picChg>
        <pc:cxnChg chg="add mod">
          <ac:chgData name="Ito Koichi" userId="7c59a57e28e385d5" providerId="LiveId" clId="{7BE1A0C3-347C-9343-AD50-5497B70087AB}" dt="2022-01-25T05:49:35.037" v="1208" actId="1582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modSp new del mod">
        <pc:chgData name="Ito Koichi" userId="7c59a57e28e385d5" providerId="LiveId" clId="{7BE1A0C3-347C-9343-AD50-5497B70087AB}" dt="2022-02-04T13:58:17.438" v="7226" actId="2696"/>
        <pc:sldMkLst>
          <pc:docMk/>
          <pc:sldMk cId="3172124207" sldId="269"/>
        </pc:sldMkLst>
        <pc:spChg chg="mod">
          <ac:chgData name="Ito Koichi" userId="7c59a57e28e385d5" providerId="LiveId" clId="{7BE1A0C3-347C-9343-AD50-5497B70087AB}" dt="2022-01-25T05:47:03.920" v="1137" actId="20577"/>
          <ac:spMkLst>
            <pc:docMk/>
            <pc:sldMk cId="3172124207" sldId="269"/>
            <ac:spMk id="3" creationId="{1B0A30AF-4F0C-A54D-89C5-55782BD7E2D7}"/>
          </ac:spMkLst>
        </pc:spChg>
        <pc:spChg chg="mod">
          <ac:chgData name="Ito Koichi" userId="7c59a57e28e385d5" providerId="LiveId" clId="{7BE1A0C3-347C-9343-AD50-5497B70087AB}" dt="2022-01-25T05:47:05.804" v="1139" actId="20577"/>
          <ac:spMkLst>
            <pc:docMk/>
            <pc:sldMk cId="3172124207" sldId="269"/>
            <ac:spMk id="4" creationId="{B6B7E462-C010-9F4B-A6B0-8EEB858326A9}"/>
          </ac:spMkLst>
        </pc:spChg>
        <pc:spChg chg="mod">
          <ac:chgData name="Ito Koichi" userId="7c59a57e28e385d5" providerId="LiveId" clId="{7BE1A0C3-347C-9343-AD50-5497B70087AB}" dt="2022-01-25T05:47:03.362" v="1136" actId="20577"/>
          <ac:spMkLst>
            <pc:docMk/>
            <pc:sldMk cId="3172124207" sldId="269"/>
            <ac:spMk id="5" creationId="{586C9E18-9188-A442-8CBA-572DFEDB3F6A}"/>
          </ac:spMkLst>
        </pc:spChg>
        <pc:spChg chg="mod">
          <ac:chgData name="Ito Koichi" userId="7c59a57e28e385d5" providerId="LiveId" clId="{7BE1A0C3-347C-9343-AD50-5497B70087AB}" dt="2022-01-25T05:47:05.141" v="1138" actId="20577"/>
          <ac:spMkLst>
            <pc:docMk/>
            <pc:sldMk cId="3172124207" sldId="269"/>
            <ac:spMk id="6" creationId="{E2483612-0374-D646-B760-660CF87FA620}"/>
          </ac:spMkLst>
        </pc:spChg>
      </pc:sldChg>
      <pc:sldChg chg="addSp delSp modSp new mod">
        <pc:chgData name="Ito Koichi" userId="7c59a57e28e385d5" providerId="LiveId" clId="{7BE1A0C3-347C-9343-AD50-5497B70087AB}" dt="2022-03-08T03:04:54.585" v="10339" actId="1076"/>
        <pc:sldMkLst>
          <pc:docMk/>
          <pc:sldMk cId="3881752054" sldId="270"/>
        </pc:sldMkLst>
        <pc:spChg chg="mod">
          <ac:chgData name="Ito Koichi" userId="7c59a57e28e385d5" providerId="LiveId" clId="{7BE1A0C3-347C-9343-AD50-5497B70087AB}" dt="2022-01-27T03:20:01.616" v="1433" actId="20577"/>
          <ac:spMkLst>
            <pc:docMk/>
            <pc:sldMk cId="3881752054" sldId="270"/>
            <ac:spMk id="2" creationId="{18772FE0-9CC7-8E4F-A04D-DFD4A2C11F45}"/>
          </ac:spMkLst>
        </pc:spChg>
        <pc:spChg chg="del">
          <ac:chgData name="Ito Koichi" userId="7c59a57e28e385d5" providerId="LiveId" clId="{7BE1A0C3-347C-9343-AD50-5497B70087AB}" dt="2022-01-27T03:20:43.513" v="1439" actId="478"/>
          <ac:spMkLst>
            <pc:docMk/>
            <pc:sldMk cId="3881752054" sldId="270"/>
            <ac:spMk id="3" creationId="{78D3D724-06AF-9341-8C8C-BEB2A257D585}"/>
          </ac:spMkLst>
        </pc:spChg>
        <pc:spChg chg="mod">
          <ac:chgData name="Ito Koichi" userId="7c59a57e28e385d5" providerId="LiveId" clId="{7BE1A0C3-347C-9343-AD50-5497B70087AB}" dt="2022-02-02T01:01:19.161" v="3569"/>
          <ac:spMkLst>
            <pc:docMk/>
            <pc:sldMk cId="3881752054" sldId="270"/>
            <ac:spMk id="4" creationId="{2A5F6972-5246-AF49-B228-DA9DB031686D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6" creationId="{32983AA7-6181-D64F-8729-D8799C51E949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7" creationId="{ECC77E2C-9A64-9543-97D3-84E4032D3270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8" creationId="{0587CE72-55C9-2341-BB75-D33E3A1EF26E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9" creationId="{0215EBC1-9BF9-0045-BE77-8FB0E0DD8291}"/>
          </ac:spMkLst>
        </pc:spChg>
        <pc:spChg chg="add mod">
          <ac:chgData name="Ito Koichi" userId="7c59a57e28e385d5" providerId="LiveId" clId="{7BE1A0C3-347C-9343-AD50-5497B70087AB}" dt="2022-01-27T03:54:19.685" v="1638" actId="20577"/>
          <ac:spMkLst>
            <pc:docMk/>
            <pc:sldMk cId="3881752054" sldId="270"/>
            <ac:spMk id="10" creationId="{DDD61ABB-EBDC-FA49-AD27-5698C4A92B75}"/>
          </ac:spMkLst>
        </pc:spChg>
        <pc:spChg chg="add mod">
          <ac:chgData name="Ito Koichi" userId="7c59a57e28e385d5" providerId="LiveId" clId="{7BE1A0C3-347C-9343-AD50-5497B70087AB}" dt="2022-01-27T03:54:58.588" v="1690" actId="20577"/>
          <ac:spMkLst>
            <pc:docMk/>
            <pc:sldMk cId="3881752054" sldId="270"/>
            <ac:spMk id="11" creationId="{F5B39EE1-BB9B-424C-9291-6407D24D21B1}"/>
          </ac:spMkLst>
        </pc:spChg>
        <pc:spChg chg="add mod">
          <ac:chgData name="Ito Koichi" userId="7c59a57e28e385d5" providerId="LiveId" clId="{7BE1A0C3-347C-9343-AD50-5497B70087AB}" dt="2022-01-27T03:48:16.365" v="1503" actId="113"/>
          <ac:spMkLst>
            <pc:docMk/>
            <pc:sldMk cId="3881752054" sldId="270"/>
            <ac:spMk id="12" creationId="{8C33D614-2387-A049-A2EF-207636334C91}"/>
          </ac:spMkLst>
        </pc:spChg>
        <pc:spChg chg="add mod">
          <ac:chgData name="Ito Koichi" userId="7c59a57e28e385d5" providerId="LiveId" clId="{7BE1A0C3-347C-9343-AD50-5497B70087AB}" dt="2022-01-27T03:48:17.877" v="1504" actId="113"/>
          <ac:spMkLst>
            <pc:docMk/>
            <pc:sldMk cId="3881752054" sldId="270"/>
            <ac:spMk id="13" creationId="{DE3C94E6-FF50-CC42-97EF-1919166259FF}"/>
          </ac:spMkLst>
        </pc:spChg>
        <pc:spChg chg="add del mod">
          <ac:chgData name="Ito Koichi" userId="7c59a57e28e385d5" providerId="LiveId" clId="{7BE1A0C3-347C-9343-AD50-5497B70087AB}" dt="2022-01-27T03:47:53.088" v="1464" actId="767"/>
          <ac:spMkLst>
            <pc:docMk/>
            <pc:sldMk cId="3881752054" sldId="270"/>
            <ac:spMk id="15" creationId="{F005175B-F3AB-4143-8422-0636975322F9}"/>
          </ac:spMkLst>
        </pc:spChg>
        <pc:spChg chg="add del mod">
          <ac:chgData name="Ito Koichi" userId="7c59a57e28e385d5" providerId="LiveId" clId="{7BE1A0C3-347C-9343-AD50-5497B70087AB}" dt="2022-01-27T03:52:30.927" v="1569"/>
          <ac:spMkLst>
            <pc:docMk/>
            <pc:sldMk cId="3881752054" sldId="270"/>
            <ac:spMk id="24" creationId="{401923FE-3396-844B-B524-AF053212D8A8}"/>
          </ac:spMkLst>
        </pc:spChg>
        <pc:picChg chg="add del mod">
          <ac:chgData name="Ito Koichi" userId="7c59a57e28e385d5" providerId="LiveId" clId="{7BE1A0C3-347C-9343-AD50-5497B70087AB}" dt="2022-01-27T03:48:51.691" v="1511" actId="478"/>
          <ac:picMkLst>
            <pc:docMk/>
            <pc:sldMk cId="3881752054" sldId="270"/>
            <ac:picMk id="17" creationId="{FEE0E82C-3C86-DB45-8F14-B0A0FA77C91D}"/>
          </ac:picMkLst>
        </pc:picChg>
        <pc:picChg chg="add mod">
          <ac:chgData name="Ito Koichi" userId="7c59a57e28e385d5" providerId="LiveId" clId="{7BE1A0C3-347C-9343-AD50-5497B70087AB}" dt="2022-01-27T03:54:16.046" v="1637" actId="1076"/>
          <ac:picMkLst>
            <pc:docMk/>
            <pc:sldMk cId="3881752054" sldId="270"/>
            <ac:picMk id="19" creationId="{61104B47-EC1A-1A41-A28A-600054A7E1ED}"/>
          </ac:picMkLst>
        </pc:picChg>
        <pc:picChg chg="add del mod">
          <ac:chgData name="Ito Koichi" userId="7c59a57e28e385d5" providerId="LiveId" clId="{7BE1A0C3-347C-9343-AD50-5497B70087AB}" dt="2022-01-27T03:50:17.508" v="1525" actId="478"/>
          <ac:picMkLst>
            <pc:docMk/>
            <pc:sldMk cId="3881752054" sldId="270"/>
            <ac:picMk id="21" creationId="{B24A3656-8C5B-BC4F-9017-8096344B079C}"/>
          </ac:picMkLst>
        </pc:picChg>
        <pc:picChg chg="add del mod">
          <ac:chgData name="Ito Koichi" userId="7c59a57e28e385d5" providerId="LiveId" clId="{7BE1A0C3-347C-9343-AD50-5497B70087AB}" dt="2022-01-27T03:53:03.900" v="1578" actId="478"/>
          <ac:picMkLst>
            <pc:docMk/>
            <pc:sldMk cId="3881752054" sldId="270"/>
            <ac:picMk id="23" creationId="{E5E69134-2B07-9045-A08D-DAF1EEC7AEAE}"/>
          </ac:picMkLst>
        </pc:picChg>
        <pc:picChg chg="add mod">
          <ac:chgData name="Ito Koichi" userId="7c59a57e28e385d5" providerId="LiveId" clId="{7BE1A0C3-347C-9343-AD50-5497B70087AB}" dt="2022-03-08T03:04:54.585" v="10339" actId="1076"/>
          <ac:picMkLst>
            <pc:docMk/>
            <pc:sldMk cId="3881752054" sldId="270"/>
            <ac:picMk id="26" creationId="{8997088E-8B30-2F48-A216-01C3EC797688}"/>
          </ac:picMkLst>
        </pc:picChg>
        <pc:cxnChg chg="add mod">
          <ac:chgData name="Ito Koichi" userId="7c59a57e28e385d5" providerId="LiveId" clId="{7BE1A0C3-347C-9343-AD50-5497B70087AB}" dt="2022-01-27T03:47:41.546" v="1461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addSp delSp modSp add mod">
        <pc:chgData name="Ito Koichi" userId="7c59a57e28e385d5" providerId="LiveId" clId="{7BE1A0C3-347C-9343-AD50-5497B70087AB}" dt="2022-02-02T01:01:22.472" v="3570"/>
        <pc:sldMkLst>
          <pc:docMk/>
          <pc:sldMk cId="3019570019" sldId="271"/>
        </pc:sldMkLst>
        <pc:spChg chg="mod">
          <ac:chgData name="Ito Koichi" userId="7c59a57e28e385d5" providerId="LiveId" clId="{7BE1A0C3-347C-9343-AD50-5497B70087AB}" dt="2022-01-27T03:56:54.391" v="1694"/>
          <ac:spMkLst>
            <pc:docMk/>
            <pc:sldMk cId="3019570019" sldId="271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22.472" v="3570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4:08:15.175" v="2004" actId="20577"/>
          <ac:spMkLst>
            <pc:docMk/>
            <pc:sldMk cId="3019570019" sldId="271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1-27T04:03:43.822" v="1738" actId="478"/>
          <ac:spMkLst>
            <pc:docMk/>
            <pc:sldMk cId="3019570019" sldId="271"/>
            <ac:spMk id="11" creationId="{F5B39EE1-BB9B-424C-9291-6407D24D21B1}"/>
          </ac:spMkLst>
        </pc:spChg>
        <pc:spChg chg="mod">
          <ac:chgData name="Ito Koichi" userId="7c59a57e28e385d5" providerId="LiveId" clId="{7BE1A0C3-347C-9343-AD50-5497B70087AB}" dt="2022-01-27T04:03:09.081" v="1723" actId="20577"/>
          <ac:spMkLst>
            <pc:docMk/>
            <pc:sldMk cId="3019570019" sldId="271"/>
            <ac:spMk id="12" creationId="{8C33D614-2387-A049-A2EF-207636334C91}"/>
          </ac:spMkLst>
        </pc:spChg>
        <pc:spChg chg="del">
          <ac:chgData name="Ito Koichi" userId="7c59a57e28e385d5" providerId="LiveId" clId="{7BE1A0C3-347C-9343-AD50-5497B70087AB}" dt="2022-01-27T04:03:14.744" v="1725" actId="478"/>
          <ac:spMkLst>
            <pc:docMk/>
            <pc:sldMk cId="3019570019" sldId="271"/>
            <ac:spMk id="13" creationId="{DE3C94E6-FF50-CC42-97EF-1919166259FF}"/>
          </ac:spMkLst>
        </pc:spChg>
        <pc:picChg chg="add mod">
          <ac:chgData name="Ito Koichi" userId="7c59a57e28e385d5" providerId="LiveId" clId="{7BE1A0C3-347C-9343-AD50-5497B70087AB}" dt="2022-01-27T04:03:50.487" v="1741" actId="1076"/>
          <ac:picMkLst>
            <pc:docMk/>
            <pc:sldMk cId="3019570019" sldId="271"/>
            <ac:picMk id="6" creationId="{BAA46B95-FF1B-0E43-AB2F-69F957F90367}"/>
          </ac:picMkLst>
        </pc:picChg>
        <pc:picChg chg="add mod">
          <ac:chgData name="Ito Koichi" userId="7c59a57e28e385d5" providerId="LiveId" clId="{7BE1A0C3-347C-9343-AD50-5497B70087AB}" dt="2022-01-27T04:04:13.673" v="1748" actId="1076"/>
          <ac:picMkLst>
            <pc:docMk/>
            <pc:sldMk cId="3019570019" sldId="271"/>
            <ac:picMk id="8" creationId="{A30E242E-33E1-9449-BB83-2ECEB54725DD}"/>
          </ac:picMkLst>
        </pc:picChg>
        <pc:picChg chg="del">
          <ac:chgData name="Ito Koichi" userId="7c59a57e28e385d5" providerId="LiveId" clId="{7BE1A0C3-347C-9343-AD50-5497B70087AB}" dt="2022-01-27T04:03:20.464" v="1727" actId="478"/>
          <ac:picMkLst>
            <pc:docMk/>
            <pc:sldMk cId="3019570019" sldId="271"/>
            <ac:picMk id="19" creationId="{61104B47-EC1A-1A41-A28A-600054A7E1ED}"/>
          </ac:picMkLst>
        </pc:picChg>
        <pc:picChg chg="del">
          <ac:chgData name="Ito Koichi" userId="7c59a57e28e385d5" providerId="LiveId" clId="{7BE1A0C3-347C-9343-AD50-5497B70087AB}" dt="2022-01-27T04:03:16.041" v="1726" actId="478"/>
          <ac:picMkLst>
            <pc:docMk/>
            <pc:sldMk cId="3019570019" sldId="271"/>
            <ac:picMk id="26" creationId="{8997088E-8B30-2F48-A216-01C3EC797688}"/>
          </ac:picMkLst>
        </pc:picChg>
        <pc:cxnChg chg="del">
          <ac:chgData name="Ito Koichi" userId="7c59a57e28e385d5" providerId="LiveId" clId="{7BE1A0C3-347C-9343-AD50-5497B70087AB}" dt="2022-01-27T04:03:11.177" v="1724" actId="478"/>
          <ac:cxnSpMkLst>
            <pc:docMk/>
            <pc:sldMk cId="3019570019" sldId="271"/>
            <ac:cxnSpMk id="14" creationId="{465315AF-7206-7D43-B4A3-C2A861239C5F}"/>
          </ac:cxnSpMkLst>
        </pc:cxnChg>
      </pc:sldChg>
      <pc:sldChg chg="add del">
        <pc:chgData name="Ito Koichi" userId="7c59a57e28e385d5" providerId="LiveId" clId="{7BE1A0C3-347C-9343-AD50-5497B70087AB}" dt="2022-01-27T03:56:44.270" v="1693"/>
        <pc:sldMkLst>
          <pc:docMk/>
          <pc:sldMk cId="44497761" sldId="272"/>
        </pc:sldMkLst>
      </pc:sldChg>
      <pc:sldChg chg="addSp delSp modSp add mod">
        <pc:chgData name="Ito Koichi" userId="7c59a57e28e385d5" providerId="LiveId" clId="{7BE1A0C3-347C-9343-AD50-5497B70087AB}" dt="2022-02-02T01:01:42.296" v="3585"/>
        <pc:sldMkLst>
          <pc:docMk/>
          <pc:sldMk cId="217402464" sldId="272"/>
        </pc:sldMkLst>
        <pc:spChg chg="mod">
          <ac:chgData name="Ito Koichi" userId="7c59a57e28e385d5" providerId="LiveId" clId="{7BE1A0C3-347C-9343-AD50-5497B70087AB}" dt="2022-01-27T04:13:19.408" v="2006"/>
          <ac:spMkLst>
            <pc:docMk/>
            <pc:sldMk cId="217402464" sldId="272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42.296" v="3585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05:27.548" v="2696" actId="1076"/>
          <ac:spMkLst>
            <pc:docMk/>
            <pc:sldMk cId="217402464" sldId="272"/>
            <ac:spMk id="10" creationId="{DDD61ABB-EBDC-FA49-AD27-5698C4A92B75}"/>
          </ac:spMkLst>
        </pc:spChg>
        <pc:spChg chg="del mod">
          <ac:chgData name="Ito Koichi" userId="7c59a57e28e385d5" providerId="LiveId" clId="{7BE1A0C3-347C-9343-AD50-5497B70087AB}" dt="2022-01-27T04:38:54.408" v="2601" actId="478"/>
          <ac:spMkLst>
            <pc:docMk/>
            <pc:sldMk cId="217402464" sldId="272"/>
            <ac:spMk id="12" creationId="{8C33D614-2387-A049-A2EF-207636334C91}"/>
          </ac:spMkLst>
        </pc:spChg>
        <pc:spChg chg="add del mod">
          <ac:chgData name="Ito Koichi" userId="7c59a57e28e385d5" providerId="LiveId" clId="{7BE1A0C3-347C-9343-AD50-5497B70087AB}" dt="2022-01-27T04:36:15.281" v="2440"/>
          <ac:spMkLst>
            <pc:docMk/>
            <pc:sldMk cId="217402464" sldId="272"/>
            <ac:spMk id="31" creationId="{0D738626-E446-C04F-A2D3-52856CCB30FB}"/>
          </ac:spMkLst>
        </pc:spChg>
        <pc:spChg chg="add mod">
          <ac:chgData name="Ito Koichi" userId="7c59a57e28e385d5" providerId="LiveId" clId="{7BE1A0C3-347C-9343-AD50-5497B70087AB}" dt="2022-02-02T01:01:40.541" v="3584" actId="20577"/>
          <ac:spMkLst>
            <pc:docMk/>
            <pc:sldMk cId="217402464" sldId="272"/>
            <ac:spMk id="32" creationId="{D9C141CA-9F8C-AE41-B7B8-58A80B492D23}"/>
          </ac:spMkLst>
        </pc:spChg>
        <pc:spChg chg="add mod">
          <ac:chgData name="Ito Koichi" userId="7c59a57e28e385d5" providerId="LiveId" clId="{7BE1A0C3-347C-9343-AD50-5497B70087AB}" dt="2022-02-02T01:01:36.150" v="3578" actId="20577"/>
          <ac:spMkLst>
            <pc:docMk/>
            <pc:sldMk cId="217402464" sldId="272"/>
            <ac:spMk id="33" creationId="{9B9C703E-6C08-5C49-A9FE-08FADE52217B}"/>
          </ac:spMkLst>
        </pc:spChg>
        <pc:picChg chg="del">
          <ac:chgData name="Ito Koichi" userId="7c59a57e28e385d5" providerId="LiveId" clId="{7BE1A0C3-347C-9343-AD50-5497B70087AB}" dt="2022-01-27T04:13:57.147" v="2014" actId="478"/>
          <ac:picMkLst>
            <pc:docMk/>
            <pc:sldMk cId="217402464" sldId="272"/>
            <ac:picMk id="6" creationId="{BAA46B95-FF1B-0E43-AB2F-69F957F90367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7" creationId="{9E56F6D6-84D5-DC40-B507-D1336EF1F5FE}"/>
          </ac:picMkLst>
        </pc:picChg>
        <pc:picChg chg="del">
          <ac:chgData name="Ito Koichi" userId="7c59a57e28e385d5" providerId="LiveId" clId="{7BE1A0C3-347C-9343-AD50-5497B70087AB}" dt="2022-01-27T04:13:37.948" v="2007" actId="478"/>
          <ac:picMkLst>
            <pc:docMk/>
            <pc:sldMk cId="217402464" sldId="272"/>
            <ac:picMk id="8" creationId="{A30E242E-33E1-9449-BB83-2ECEB54725DD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1" creationId="{59D51E01-80F3-D148-B64F-98D1FC7F8F58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4" creationId="{AB64489A-D25F-334D-A88F-639AE09B09B4}"/>
          </ac:picMkLst>
        </pc:picChg>
        <pc:picChg chg="add del mod">
          <ac:chgData name="Ito Koichi" userId="7c59a57e28e385d5" providerId="LiveId" clId="{7BE1A0C3-347C-9343-AD50-5497B70087AB}" dt="2022-01-27T04:22:31.166" v="2136" actId="478"/>
          <ac:picMkLst>
            <pc:docMk/>
            <pc:sldMk cId="217402464" sldId="272"/>
            <ac:picMk id="16" creationId="{1BCBED68-7B68-C14C-AB87-1393BE7A6370}"/>
          </ac:picMkLst>
        </pc:picChg>
        <pc:picChg chg="add del mod">
          <ac:chgData name="Ito Koichi" userId="7c59a57e28e385d5" providerId="LiveId" clId="{7BE1A0C3-347C-9343-AD50-5497B70087AB}" dt="2022-01-27T04:22:32.320" v="2137" actId="478"/>
          <ac:picMkLst>
            <pc:docMk/>
            <pc:sldMk cId="217402464" sldId="272"/>
            <ac:picMk id="18" creationId="{8A507D3D-6159-984C-8A60-F9D7CDF5B0BD}"/>
          </ac:picMkLst>
        </pc:picChg>
        <pc:picChg chg="add mod">
          <ac:chgData name="Ito Koichi" userId="7c59a57e28e385d5" providerId="LiveId" clId="{7BE1A0C3-347C-9343-AD50-5497B70087AB}" dt="2022-01-27T06:05:27.548" v="2696" actId="1076"/>
          <ac:picMkLst>
            <pc:docMk/>
            <pc:sldMk cId="217402464" sldId="272"/>
            <ac:picMk id="20" creationId="{5A7ACD5C-89B5-8F47-AA9E-4FA81EAC2C58}"/>
          </ac:picMkLst>
        </pc:picChg>
        <pc:picChg chg="add mod">
          <ac:chgData name="Ito Koichi" userId="7c59a57e28e385d5" providerId="LiveId" clId="{7BE1A0C3-347C-9343-AD50-5497B70087AB}" dt="2022-01-27T04:35:15.256" v="2358" actId="1076"/>
          <ac:picMkLst>
            <pc:docMk/>
            <pc:sldMk cId="217402464" sldId="272"/>
            <ac:picMk id="22" creationId="{3FE30F58-F6F6-CC46-B134-BC0D5128D1C3}"/>
          </ac:picMkLst>
        </pc:picChg>
        <pc:picChg chg="add del mod">
          <ac:chgData name="Ito Koichi" userId="7c59a57e28e385d5" providerId="LiveId" clId="{7BE1A0C3-347C-9343-AD50-5497B70087AB}" dt="2022-01-27T04:24:26.888" v="2151" actId="478"/>
          <ac:picMkLst>
            <pc:docMk/>
            <pc:sldMk cId="217402464" sldId="272"/>
            <ac:picMk id="24" creationId="{465C35E6-2508-6148-92C6-D8A2AA33C46A}"/>
          </ac:picMkLst>
        </pc:picChg>
        <pc:picChg chg="add mod">
          <ac:chgData name="Ito Koichi" userId="7c59a57e28e385d5" providerId="LiveId" clId="{7BE1A0C3-347C-9343-AD50-5497B70087AB}" dt="2022-01-27T06:05:39.129" v="2698" actId="1076"/>
          <ac:picMkLst>
            <pc:docMk/>
            <pc:sldMk cId="217402464" sldId="272"/>
            <ac:picMk id="26" creationId="{E50F0E56-9DA8-0644-BC86-B21A877B1242}"/>
          </ac:picMkLst>
        </pc:picChg>
        <pc:cxnChg chg="add mod">
          <ac:chgData name="Ito Koichi" userId="7c59a57e28e385d5" providerId="LiveId" clId="{7BE1A0C3-347C-9343-AD50-5497B70087AB}" dt="2022-01-27T06:05:31.664" v="2697" actId="1076"/>
          <ac:cxnSpMkLst>
            <pc:docMk/>
            <pc:sldMk cId="217402464" sldId="272"/>
            <ac:cxnSpMk id="27" creationId="{3F56727B-45E8-4E49-B025-495D6EF252EC}"/>
          </ac:cxnSpMkLst>
        </pc:cxnChg>
        <pc:cxnChg chg="add mod">
          <ac:chgData name="Ito Koichi" userId="7c59a57e28e385d5" providerId="LiveId" clId="{7BE1A0C3-347C-9343-AD50-5497B70087AB}" dt="2022-01-27T04:31:20.532" v="2239" actId="1076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addSp delSp modSp add del mod">
        <pc:chgData name="Ito Koichi" userId="7c59a57e28e385d5" providerId="LiveId" clId="{7BE1A0C3-347C-9343-AD50-5497B70087AB}" dt="2022-01-27T06:12:18.829" v="2737" actId="2696"/>
        <pc:sldMkLst>
          <pc:docMk/>
          <pc:sldMk cId="4212649762" sldId="273"/>
        </pc:sldMkLst>
        <pc:spChg chg="mod">
          <ac:chgData name="Ito Koichi" userId="7c59a57e28e385d5" providerId="LiveId" clId="{7BE1A0C3-347C-9343-AD50-5497B70087AB}" dt="2022-01-27T06:01:08.272" v="2672" actId="20577"/>
          <ac:spMkLst>
            <pc:docMk/>
            <pc:sldMk cId="4212649762" sldId="27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6:00:25.841" v="2633" actId="20577"/>
          <ac:spMkLst>
            <pc:docMk/>
            <pc:sldMk cId="4212649762" sldId="273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1-27T06:00:27.638" v="2635" actId="20577"/>
          <ac:spMkLst>
            <pc:docMk/>
            <pc:sldMk cId="4212649762" sldId="273"/>
            <ac:spMk id="33" creationId="{9B9C703E-6C08-5C49-A9FE-08FADE52217B}"/>
          </ac:spMkLst>
        </pc:spChg>
        <pc:picChg chg="add del mod">
          <ac:chgData name="Ito Koichi" userId="7c59a57e28e385d5" providerId="LiveId" clId="{7BE1A0C3-347C-9343-AD50-5497B70087AB}" dt="2022-01-27T06:04:44.915" v="2694" actId="478"/>
          <ac:picMkLst>
            <pc:docMk/>
            <pc:sldMk cId="4212649762" sldId="273"/>
            <ac:picMk id="6" creationId="{FB58670E-EE55-5849-A46C-1B38A4ED8F3E}"/>
          </ac:picMkLst>
        </pc:picChg>
        <pc:picChg chg="add del mod">
          <ac:chgData name="Ito Koichi" userId="7c59a57e28e385d5" providerId="LiveId" clId="{7BE1A0C3-347C-9343-AD50-5497B70087AB}" dt="2022-01-27T06:04:44.018" v="2693" actId="478"/>
          <ac:picMkLst>
            <pc:docMk/>
            <pc:sldMk cId="4212649762" sldId="273"/>
            <ac:picMk id="8" creationId="{A2DDC238-D1F2-3C43-AF95-4C991377FB88}"/>
          </ac:picMkLst>
        </pc:picChg>
        <pc:picChg chg="add del mod">
          <ac:chgData name="Ito Koichi" userId="7c59a57e28e385d5" providerId="LiveId" clId="{7BE1A0C3-347C-9343-AD50-5497B70087AB}" dt="2022-01-27T06:04:46.055" v="2695" actId="478"/>
          <ac:picMkLst>
            <pc:docMk/>
            <pc:sldMk cId="4212649762" sldId="273"/>
            <ac:picMk id="11" creationId="{AA9F3BF3-0017-7547-8283-0DF96D1AD677}"/>
          </ac:picMkLst>
        </pc:picChg>
        <pc:picChg chg="del">
          <ac:chgData name="Ito Koichi" userId="7c59a57e28e385d5" providerId="LiveId" clId="{7BE1A0C3-347C-9343-AD50-5497B70087AB}" dt="2022-01-27T06:01:29.644" v="2673" actId="478"/>
          <ac:picMkLst>
            <pc:docMk/>
            <pc:sldMk cId="4212649762" sldId="273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2:26.053" v="2675" actId="478"/>
          <ac:picMkLst>
            <pc:docMk/>
            <pc:sldMk cId="4212649762" sldId="273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2:24.261" v="2674" actId="478"/>
          <ac:picMkLst>
            <pc:docMk/>
            <pc:sldMk cId="4212649762" sldId="273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2.424" v="3595"/>
        <pc:sldMkLst>
          <pc:docMk/>
          <pc:sldMk cId="576614564" sldId="274"/>
        </pc:sldMkLst>
        <pc:spChg chg="mod">
          <ac:chgData name="Ito Koichi" userId="7c59a57e28e385d5" providerId="LiveId" clId="{7BE1A0C3-347C-9343-AD50-5497B70087AB}" dt="2022-02-02T01:01:52.424" v="3595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11:45.796" v="2734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0.313" v="3594" actId="20577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2-02T01:01:48.061" v="3590" actId="20577"/>
          <ac:spMkLst>
            <pc:docMk/>
            <pc:sldMk cId="576614564" sldId="274"/>
            <ac:spMk id="33" creationId="{9B9C703E-6C08-5C49-A9FE-08FADE52217B}"/>
          </ac:spMkLst>
        </pc:spChg>
        <pc:grpChg chg="add mod">
          <ac:chgData name="Ito Koichi" userId="7c59a57e28e385d5" providerId="LiveId" clId="{7BE1A0C3-347C-9343-AD50-5497B70087AB}" dt="2022-01-27T06:52:22.784" v="2792" actId="1076"/>
          <ac:grpSpMkLst>
            <pc:docMk/>
            <pc:sldMk cId="576614564" sldId="274"/>
            <ac:grpSpMk id="21" creationId="{F9F6E007-DF69-C449-A500-68A239418B6F}"/>
          </ac:grpSpMkLst>
        </pc:grpChg>
        <pc:picChg chg="add mod">
          <ac:chgData name="Ito Koichi" userId="7c59a57e28e385d5" providerId="LiveId" clId="{7BE1A0C3-347C-9343-AD50-5497B70087AB}" dt="2022-01-27T06:50:20.411" v="2765" actId="14100"/>
          <ac:picMkLst>
            <pc:docMk/>
            <pc:sldMk cId="576614564" sldId="274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6:50:23.470" v="2766" actId="14100"/>
          <ac:picMkLst>
            <pc:docMk/>
            <pc:sldMk cId="576614564" sldId="274"/>
            <ac:picMk id="8" creationId="{54FBFC17-DD1C-EA4F-80BE-0F9D84A4B28C}"/>
          </ac:picMkLst>
        </pc:picChg>
        <pc:picChg chg="add mod">
          <ac:chgData name="Ito Koichi" userId="7c59a57e28e385d5" providerId="LiveId" clId="{7BE1A0C3-347C-9343-AD50-5497B70087AB}" dt="2022-01-27T06:51:27.883" v="2779" actId="1076"/>
          <ac:picMkLst>
            <pc:docMk/>
            <pc:sldMk cId="576614564" sldId="274"/>
            <ac:picMk id="11" creationId="{5ED91778-86AB-0F4C-9E36-365C518082AF}"/>
          </ac:picMkLst>
        </pc:picChg>
        <pc:picChg chg="add mod modCrop">
          <ac:chgData name="Ito Koichi" userId="7c59a57e28e385d5" providerId="LiveId" clId="{7BE1A0C3-347C-9343-AD50-5497B70087AB}" dt="2022-01-27T06:51:23.919" v="2778" actId="732"/>
          <ac:picMkLst>
            <pc:docMk/>
            <pc:sldMk cId="576614564" sldId="274"/>
            <ac:picMk id="13" creationId="{F9B62AE4-8071-6B48-816D-A2BF10DD541F}"/>
          </ac:picMkLst>
        </pc:picChg>
        <pc:picChg chg="add mod">
          <ac:chgData name="Ito Koichi" userId="7c59a57e28e385d5" providerId="LiveId" clId="{7BE1A0C3-347C-9343-AD50-5497B70087AB}" dt="2022-01-27T06:51:44.868" v="2782" actId="1076"/>
          <ac:picMkLst>
            <pc:docMk/>
            <pc:sldMk cId="576614564" sldId="274"/>
            <ac:picMk id="15" creationId="{59C32BD1-317D-D446-9793-F6F7CD95AECA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7" creationId="{2F3C2EB8-B174-0545-9934-028E0E974F2E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9" creationId="{2A98A9C5-D14A-8443-BFB4-97F390D5C391}"/>
          </ac:picMkLst>
        </pc:picChg>
        <pc:picChg chg="del">
          <ac:chgData name="Ito Koichi" userId="7c59a57e28e385d5" providerId="LiveId" clId="{7BE1A0C3-347C-9343-AD50-5497B70087AB}" dt="2022-01-27T06:09:33.050" v="2711" actId="478"/>
          <ac:picMkLst>
            <pc:docMk/>
            <pc:sldMk cId="576614564" sldId="274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9:34.850" v="2713" actId="478"/>
          <ac:picMkLst>
            <pc:docMk/>
            <pc:sldMk cId="576614564" sldId="274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9:34.019" v="2712" actId="478"/>
          <ac:picMkLst>
            <pc:docMk/>
            <pc:sldMk cId="576614564" sldId="274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9.820" v="3605"/>
        <pc:sldMkLst>
          <pc:docMk/>
          <pc:sldMk cId="559914308" sldId="275"/>
        </pc:sldMkLst>
        <pc:spChg chg="mod">
          <ac:chgData name="Ito Koichi" userId="7c59a57e28e385d5" providerId="LiveId" clId="{7BE1A0C3-347C-9343-AD50-5497B70087AB}" dt="2022-02-02T01:01:59.820" v="3605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10:56.145" v="2911" actId="20577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7.869" v="3604" actId="20577"/>
          <ac:spMkLst>
            <pc:docMk/>
            <pc:sldMk cId="559914308" sldId="275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07:58.836" v="2858" actId="478"/>
          <ac:spMkLst>
            <pc:docMk/>
            <pc:sldMk cId="559914308" sldId="275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08:07.542" v="2860" actId="478"/>
          <ac:grpSpMkLst>
            <pc:docMk/>
            <pc:sldMk cId="559914308" sldId="275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7" creationId="{A61B7E26-3D97-FB4C-9737-234BBACCBBF1}"/>
          </ac:picMkLst>
        </pc:pic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1" creationId="{5ED91778-86AB-0F4C-9E36-365C518082AF}"/>
          </ac:picMkLst>
        </pc:picChg>
        <pc:picChg chg="add mod">
          <ac:chgData name="Ito Koichi" userId="7c59a57e28e385d5" providerId="LiveId" clId="{7BE1A0C3-347C-9343-AD50-5497B70087AB}" dt="2022-01-27T07:09:31.942" v="2882" actId="1076"/>
          <ac:picMkLst>
            <pc:docMk/>
            <pc:sldMk cId="559914308" sldId="275"/>
            <ac:picMk id="12" creationId="{3528CCEB-BF16-3043-AEBA-797A4098DA18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08:07.542" v="2860" actId="478"/>
          <ac:picMkLst>
            <pc:docMk/>
            <pc:sldMk cId="559914308" sldId="275"/>
            <ac:picMk id="15" creationId="{59C32BD1-317D-D446-9793-F6F7CD95AECA}"/>
          </ac:picMkLst>
        </pc:picChg>
        <pc:picChg chg="add mod modCrop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16" creationId="{50800E6A-B91F-2848-B4BC-C1D253D2736B}"/>
          </ac:picMkLst>
        </pc:picChg>
        <pc:picChg chg="add del mod">
          <ac:chgData name="Ito Koichi" userId="7c59a57e28e385d5" providerId="LiveId" clId="{7BE1A0C3-347C-9343-AD50-5497B70087AB}" dt="2022-01-27T07:10:02.817" v="2888" actId="478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Ito Koichi" userId="7c59a57e28e385d5" providerId="LiveId" clId="{7BE1A0C3-347C-9343-AD50-5497B70087AB}" dt="2022-01-27T07:48:12.534" v="3050" actId="1076"/>
          <ac:cxnSpMkLst>
            <pc:docMk/>
            <pc:sldMk cId="559914308" sldId="275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08:05.531" v="2859" actId="478"/>
          <ac:cxnSpMkLst>
            <pc:docMk/>
            <pc:sldMk cId="559914308" sldId="275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28.152" v="3612"/>
        <pc:sldMkLst>
          <pc:docMk/>
          <pc:sldMk cId="2281439180" sldId="276"/>
        </pc:sldMkLst>
        <pc:spChg chg="mod">
          <ac:chgData name="Ito Koichi" userId="7c59a57e28e385d5" providerId="LiveId" clId="{7BE1A0C3-347C-9343-AD50-5497B70087AB}" dt="2022-01-27T07:15:55.753" v="2993" actId="20577"/>
          <ac:spMkLst>
            <pc:docMk/>
            <pc:sldMk cId="2281439180" sldId="276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28.152" v="3612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52:18.650" v="3081" actId="20577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03.271" v="3611" actId="20577"/>
          <ac:spMkLst>
            <pc:docMk/>
            <pc:sldMk cId="2281439180" sldId="276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46:55.891" v="3046" actId="478"/>
          <ac:spMkLst>
            <pc:docMk/>
            <pc:sldMk cId="2281439180" sldId="276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21:11.434" v="3002" actId="478"/>
          <ac:grpSpMkLst>
            <pc:docMk/>
            <pc:sldMk cId="2281439180" sldId="276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6" creationId="{167D94D9-8FA5-5F48-9160-656C50473D70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7" creationId="{FE2C0069-DA91-3F48-BE4A-ACF6EBB9AEDD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1" creationId="{5ED91778-86AB-0F4C-9E36-365C518082AF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2" creationId="{48B595BD-E259-2143-8141-41EBA4EBE72B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5" creationId="{59C32BD1-317D-D446-9793-F6F7CD95AECA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6" creationId="{A8ECA72E-F673-284E-B76B-EACE651265E4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0" creationId="{E0C0245B-75C1-5249-83A5-02F19625EBD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3" creationId="{6BACCC89-7A32-424D-AA47-B698A873C6E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5" creationId="{1A7DBC85-49E3-FF41-9DE3-BB2D6D013E05}"/>
          </ac:picMkLst>
        </pc:picChg>
        <pc:picChg chg="add mod">
          <ac:chgData name="Ito Koichi" userId="7c59a57e28e385d5" providerId="LiveId" clId="{7BE1A0C3-347C-9343-AD50-5497B70087AB}" dt="2022-01-27T07:50:35.033" v="3069" actId="1076"/>
          <ac:picMkLst>
            <pc:docMk/>
            <pc:sldMk cId="2281439180" sldId="276"/>
            <ac:picMk id="28" creationId="{0797894D-6BE1-6E4A-9620-8E87A4DDAF8B}"/>
          </ac:picMkLst>
        </pc:picChg>
        <pc:picChg chg="add mod">
          <ac:chgData name="Ito Koichi" userId="7c59a57e28e385d5" providerId="LiveId" clId="{7BE1A0C3-347C-9343-AD50-5497B70087AB}" dt="2022-01-27T07:50:45.466" v="3071" actId="1076"/>
          <ac:picMkLst>
            <pc:docMk/>
            <pc:sldMk cId="2281439180" sldId="276"/>
            <ac:picMk id="31" creationId="{07AE5D6E-E869-1D4D-9F06-E1115D91B68C}"/>
          </ac:picMkLst>
        </pc:picChg>
        <pc:picChg chg="add mod modCrop">
          <ac:chgData name="Ito Koichi" userId="7c59a57e28e385d5" providerId="LiveId" clId="{7BE1A0C3-347C-9343-AD50-5497B70087AB}" dt="2022-01-27T07:50:33.232" v="3068" actId="1076"/>
          <ac:picMkLst>
            <pc:docMk/>
            <pc:sldMk cId="2281439180" sldId="276"/>
            <ac:picMk id="35" creationId="{26CAAB11-A4EE-E443-8B4D-C04A2DC05261}"/>
          </ac:picMkLst>
        </pc:picChg>
        <pc:picChg chg="add mod">
          <ac:chgData name="Ito Koichi" userId="7c59a57e28e385d5" providerId="LiveId" clId="{7BE1A0C3-347C-9343-AD50-5497B70087AB}" dt="2022-01-27T08:15:06.258" v="3151" actId="1076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Ito Koichi" userId="7c59a57e28e385d5" providerId="LiveId" clId="{7BE1A0C3-347C-9343-AD50-5497B70087AB}" dt="2022-01-27T07:48:34.085" v="3051" actId="1076"/>
          <ac:cxnSpMkLst>
            <pc:docMk/>
            <pc:sldMk cId="2281439180" sldId="276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46:52.518" v="3044" actId="478"/>
          <ac:cxnSpMkLst>
            <pc:docMk/>
            <pc:sldMk cId="2281439180" sldId="276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35.254" v="3618"/>
        <pc:sldMkLst>
          <pc:docMk/>
          <pc:sldMk cId="416035135" sldId="277"/>
        </pc:sldMkLst>
        <pc:spChg chg="mod">
          <ac:chgData name="Ito Koichi" userId="7c59a57e28e385d5" providerId="LiveId" clId="{7BE1A0C3-347C-9343-AD50-5497B70087AB}" dt="2022-02-02T01:02:35.254" v="3618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15:58.679" v="3158" actId="20577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33.192" v="3617" actId="20577"/>
          <ac:spMkLst>
            <pc:docMk/>
            <pc:sldMk cId="416035135" sldId="27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1-27T08:15:22.010" v="3155" actId="1076"/>
          <ac:picMkLst>
            <pc:docMk/>
            <pc:sldMk cId="416035135" sldId="277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14:47.944" v="3148" actId="1076"/>
          <ac:picMkLst>
            <pc:docMk/>
            <pc:sldMk cId="416035135" sldId="277"/>
            <ac:picMk id="8" creationId="{49EB1013-D5AE-AE45-82D2-AC2A913550ED}"/>
          </ac:picMkLst>
        </pc:picChg>
        <pc:picChg chg="add mod">
          <ac:chgData name="Ito Koichi" userId="7c59a57e28e385d5" providerId="LiveId" clId="{7BE1A0C3-347C-9343-AD50-5497B70087AB}" dt="2022-01-27T08:14:29.410" v="3143" actId="1076"/>
          <ac:picMkLst>
            <pc:docMk/>
            <pc:sldMk cId="416035135" sldId="277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15:25.948" v="3156" actId="1076"/>
          <ac:picMkLst>
            <pc:docMk/>
            <pc:sldMk cId="416035135" sldId="277"/>
            <ac:picMk id="13" creationId="{529A3BEE-D152-F54A-B791-B57DA95D8F3F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28" creationId="{0797894D-6BE1-6E4A-9620-8E87A4DDAF8B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1" creationId="{07AE5D6E-E869-1D4D-9F06-E1115D91B68C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5" creationId="{26CAAB11-A4EE-E443-8B4D-C04A2DC05261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7" creationId="{EDE5CCB4-0904-CA49-8D79-727AB7BB89AF}"/>
          </ac:picMkLst>
        </pc:picChg>
      </pc:sldChg>
      <pc:sldChg chg="addSp delSp modSp add mod">
        <pc:chgData name="Ito Koichi" userId="7c59a57e28e385d5" providerId="LiveId" clId="{7BE1A0C3-347C-9343-AD50-5497B70087AB}" dt="2022-02-02T01:02:37.776" v="3619"/>
        <pc:sldMkLst>
          <pc:docMk/>
          <pc:sldMk cId="1825696332" sldId="278"/>
        </pc:sldMkLst>
        <pc:spChg chg="mod">
          <ac:chgData name="Ito Koichi" userId="7c59a57e28e385d5" providerId="LiveId" clId="{7BE1A0C3-347C-9343-AD50-5497B70087AB}" dt="2022-02-02T01:02:37.776" v="3619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22:34.536" v="3180" actId="20577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8:23:46.745" v="3211" actId="20577"/>
          <ac:spMkLst>
            <pc:docMk/>
            <pc:sldMk cId="1825696332" sldId="278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7" creationId="{DC4E3700-140D-454D-9105-85EBF95BCD61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8" creationId="{49EB1013-D5AE-AE45-82D2-AC2A913550ED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3" creationId="{529A3BEE-D152-F54A-B791-B57DA95D8F3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43.868" v="3623"/>
        <pc:sldMkLst>
          <pc:docMk/>
          <pc:sldMk cId="1796130260" sldId="279"/>
        </pc:sldMkLst>
        <pc:spChg chg="mod">
          <ac:chgData name="Ito Koichi" userId="7c59a57e28e385d5" providerId="LiveId" clId="{7BE1A0C3-347C-9343-AD50-5497B70087AB}" dt="2022-01-27T08:27:02.189" v="3239" actId="20577"/>
          <ac:spMkLst>
            <pc:docMk/>
            <pc:sldMk cId="1796130260" sldId="279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43.868" v="3623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9.763" v="3444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Ito Koichi" userId="7c59a57e28e385d5" providerId="LiveId" clId="{7BE1A0C3-347C-9343-AD50-5497B70087AB}" dt="2022-02-01T08:46:09.966" v="3278" actId="767"/>
          <ac:spMkLst>
            <pc:docMk/>
            <pc:sldMk cId="1796130260" sldId="279"/>
            <ac:spMk id="12" creationId="{D91D218A-8914-A14D-BF90-E2858F81C28E}"/>
          </ac:spMkLst>
        </pc:spChg>
        <pc:spChg chg="mod">
          <ac:chgData name="Ito Koichi" userId="7c59a57e28e385d5" providerId="LiveId" clId="{7BE1A0C3-347C-9343-AD50-5497B70087AB}" dt="2022-02-02T01:02:42.014" v="3622" actId="5793"/>
          <ac:spMkLst>
            <pc:docMk/>
            <pc:sldMk cId="1796130260" sldId="279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08:44:25.220" v="3265" actId="1076"/>
          <ac:picMkLst>
            <pc:docMk/>
            <pc:sldMk cId="1796130260" sldId="279"/>
            <ac:picMk id="6" creationId="{12C720ED-E9D7-0B46-BB4A-78D084DFA00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7" creationId="{DC4E3700-140D-454D-9105-85EBF95BCD61}"/>
          </ac:picMkLst>
        </pc:picChg>
        <pc:picChg chg="add mod">
          <ac:chgData name="Ito Koichi" userId="7c59a57e28e385d5" providerId="LiveId" clId="{7BE1A0C3-347C-9343-AD50-5497B70087AB}" dt="2022-02-01T08:44:48.053" v="3271" actId="1076"/>
          <ac:picMkLst>
            <pc:docMk/>
            <pc:sldMk cId="1796130260" sldId="279"/>
            <ac:picMk id="8" creationId="{A08A2E49-50F1-A14A-9CE4-11F4A8B1A784}"/>
          </ac:picMkLst>
        </pc:picChg>
        <pc:picChg chg="add mod">
          <ac:chgData name="Ito Koichi" userId="7c59a57e28e385d5" providerId="LiveId" clId="{7BE1A0C3-347C-9343-AD50-5497B70087AB}" dt="2022-02-01T08:58:58.845" v="3360" actId="14100"/>
          <ac:picMkLst>
            <pc:docMk/>
            <pc:sldMk cId="1796130260" sldId="279"/>
            <ac:picMk id="11" creationId="{C35C1CC0-864A-9B44-81C5-0E032CEA058A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51.056" v="3629"/>
        <pc:sldMkLst>
          <pc:docMk/>
          <pc:sldMk cId="543936518" sldId="280"/>
        </pc:sldMkLst>
        <pc:spChg chg="mod">
          <ac:chgData name="Ito Koichi" userId="7c59a57e28e385d5" providerId="LiveId" clId="{7BE1A0C3-347C-9343-AD50-5497B70087AB}" dt="2022-02-02T01:02:51.056" v="3629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27.581" v="3424" actId="20577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49.344" v="3628" actId="20577"/>
          <ac:spMkLst>
            <pc:docMk/>
            <pc:sldMk cId="543936518" sldId="280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1T08:55:19.240" v="3343" actId="478"/>
          <ac:picMkLst>
            <pc:docMk/>
            <pc:sldMk cId="543936518" sldId="280"/>
            <ac:picMk id="6" creationId="{12C720ED-E9D7-0B46-BB4A-78D084DFA002}"/>
          </ac:picMkLst>
        </pc:picChg>
        <pc:picChg chg="add mod">
          <ac:chgData name="Ito Koichi" userId="7c59a57e28e385d5" providerId="LiveId" clId="{7BE1A0C3-347C-9343-AD50-5497B70087AB}" dt="2022-02-01T08:59:42.525" v="3372" actId="1076"/>
          <ac:picMkLst>
            <pc:docMk/>
            <pc:sldMk cId="543936518" sldId="280"/>
            <ac:picMk id="7" creationId="{616154AA-7A6C-9F4D-BAA3-433A714AD473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8" creationId="{A08A2E49-50F1-A14A-9CE4-11F4A8B1A784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11" creationId="{C35C1CC0-864A-9B44-81C5-0E032CEA058A}"/>
          </ac:picMkLst>
        </pc:picChg>
        <pc:picChg chg="add mod">
          <ac:chgData name="Ito Koichi" userId="7c59a57e28e385d5" providerId="LiveId" clId="{7BE1A0C3-347C-9343-AD50-5497B70087AB}" dt="2022-02-01T08:59:54.810" v="3375" actId="1076"/>
          <ac:picMkLst>
            <pc:docMk/>
            <pc:sldMk cId="543936518" sldId="280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08:59:29.441" v="3370" actId="1076"/>
          <ac:picMkLst>
            <pc:docMk/>
            <pc:sldMk cId="543936518" sldId="280"/>
            <ac:picMk id="14" creationId="{36D26B5A-BE2D-C74A-8E70-DA1B863B88DF}"/>
          </ac:picMkLst>
        </pc:picChg>
        <pc:picChg chg="add mod">
          <ac:chgData name="Ito Koichi" userId="7c59a57e28e385d5" providerId="LiveId" clId="{7BE1A0C3-347C-9343-AD50-5497B70087AB}" dt="2022-02-01T08:59:51.894" v="3374" actId="1076"/>
          <ac:picMkLst>
            <pc:docMk/>
            <pc:sldMk cId="543936518" sldId="280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02:54.186" v="3630"/>
        <pc:sldMkLst>
          <pc:docMk/>
          <pc:sldMk cId="4067997508" sldId="281"/>
        </pc:sldMkLst>
        <pc:spChg chg="mod">
          <ac:chgData name="Ito Koichi" userId="7c59a57e28e385d5" providerId="LiveId" clId="{7BE1A0C3-347C-9343-AD50-5497B70087AB}" dt="2022-02-02T01:02:54.186" v="3630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3.856" v="3434" actId="20577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1T10:20:36.772" v="3440" actId="20577"/>
          <ac:spMkLst>
            <pc:docMk/>
            <pc:sldMk cId="4067997508" sldId="281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10:17:49.235" v="3394" actId="1076"/>
          <ac:picMkLst>
            <pc:docMk/>
            <pc:sldMk cId="4067997508" sldId="281"/>
            <ac:picMk id="6" creationId="{94082C37-8E4C-CF40-8FF2-141D49C802ED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1T10:17:58.452" v="3396" actId="1076"/>
          <ac:picMkLst>
            <pc:docMk/>
            <pc:sldMk cId="4067997508" sldId="281"/>
            <ac:picMk id="9" creationId="{5F7FEDAD-4424-5C4F-8894-929EDFE11D20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10:17:46.869" v="3393" actId="1076"/>
          <ac:picMkLst>
            <pc:docMk/>
            <pc:sldMk cId="4067997508" sldId="281"/>
            <ac:picMk id="13" creationId="{26375A10-1943-7341-B4A1-A04468CF2EE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6" creationId="{59F1F02E-E34F-8F4E-AA9A-DAA5B86F632C}"/>
          </ac:picMkLst>
        </pc:picChg>
        <pc:cxnChg chg="mod">
          <ac:chgData name="Ito Koichi" userId="7c59a57e28e385d5" providerId="LiveId" clId="{7BE1A0C3-347C-9343-AD50-5497B70087AB}" dt="2022-02-01T10:20:07.769" v="3418" actId="1076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1T10:21:19.290" v="3451"/>
        <pc:sldMkLst>
          <pc:docMk/>
          <pc:sldMk cId="467404387" sldId="282"/>
        </pc:sldMkLst>
        <pc:spChg chg="mod">
          <ac:chgData name="Ito Koichi" userId="7c59a57e28e385d5" providerId="LiveId" clId="{7BE1A0C3-347C-9343-AD50-5497B70087AB}" dt="2022-02-01T10:21:19.290" v="3451"/>
          <ac:spMkLst>
            <pc:docMk/>
            <pc:sldMk cId="467404387" sldId="282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6:57.621" v="3674" actId="1076"/>
        <pc:sldMkLst>
          <pc:docMk/>
          <pc:sldMk cId="2749391245" sldId="283"/>
        </pc:sldMkLst>
        <pc:spChg chg="mod">
          <ac:chgData name="Ito Koichi" userId="7c59a57e28e385d5" providerId="LiveId" clId="{7BE1A0C3-347C-9343-AD50-5497B70087AB}" dt="2022-02-01T10:21:55.462" v="3453"/>
          <ac:spMkLst>
            <pc:docMk/>
            <pc:sldMk cId="2749391245" sldId="283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57.756" v="3631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0:30:30.936" v="3465" actId="20577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0:49:14.994" v="3491" actId="1076"/>
          <ac:spMkLst>
            <pc:docMk/>
            <pc:sldMk cId="2749391245" sldId="283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0:48:57.444" v="3489" actId="1076"/>
          <ac:picMkLst>
            <pc:docMk/>
            <pc:sldMk cId="2749391245" sldId="283"/>
            <ac:picMk id="6" creationId="{06E0490D-AE1D-C341-8D08-6E3F5741730C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0:49:31.357" v="3494" actId="166"/>
          <ac:picMkLst>
            <pc:docMk/>
            <pc:sldMk cId="2749391245" sldId="283"/>
            <ac:picMk id="9" creationId="{1567BE1C-68D2-B444-8CC1-B7FF156EC4B5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2T00:48:55.595" v="3488" actId="1076"/>
          <ac:picMkLst>
            <pc:docMk/>
            <pc:sldMk cId="2749391245" sldId="283"/>
            <ac:picMk id="13" creationId="{39ABF7AF-7E32-814B-93DA-66E83AAB45E1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6" creationId="{59F1F02E-E34F-8F4E-AA9A-DAA5B86F632C}"/>
          </ac:picMkLst>
        </pc:picChg>
        <pc:picChg chg="add mod">
          <ac:chgData name="Ito Koichi" userId="7c59a57e28e385d5" providerId="LiveId" clId="{7BE1A0C3-347C-9343-AD50-5497B70087AB}" dt="2022-02-02T01:06:25.739" v="3669" actId="1076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Ito Koichi" userId="7c59a57e28e385d5" providerId="LiveId" clId="{7BE1A0C3-347C-9343-AD50-5497B70087AB}" dt="2022-02-02T01:06:57.621" v="3674" actId="1076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2T00:50:21.281" v="3504" actId="20577"/>
        <pc:sldMkLst>
          <pc:docMk/>
          <pc:sldMk cId="647443771" sldId="284"/>
        </pc:sldMkLst>
        <pc:spChg chg="mod">
          <ac:chgData name="Ito Koichi" userId="7c59a57e28e385d5" providerId="LiveId" clId="{7BE1A0C3-347C-9343-AD50-5497B70087AB}" dt="2022-02-02T00:50:21.281" v="350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4:56.940" v="3661" actId="1076"/>
        <pc:sldMkLst>
          <pc:docMk/>
          <pc:sldMk cId="3620493443" sldId="285"/>
        </pc:sldMkLst>
        <pc:spChg chg="mod">
          <ac:chgData name="Ito Koichi" userId="7c59a57e28e385d5" providerId="LiveId" clId="{7BE1A0C3-347C-9343-AD50-5497B70087AB}" dt="2022-02-02T00:56:26.653" v="3506"/>
          <ac:spMkLst>
            <pc:docMk/>
            <pc:sldMk cId="3620493443" sldId="285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3:05.002" v="3637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1:03:43.744" v="3638" actId="20577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3:49.333" v="3639" actId="20577"/>
          <ac:spMkLst>
            <pc:docMk/>
            <pc:sldMk cId="3620493443" sldId="285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9" creationId="{F68A214B-F3FB-7B4C-8E80-4D68B0C40E8B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11" creationId="{0C0D4603-9F2F-4E48-8BED-3E5A527D84A0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2" creationId="{E4DB8213-20DE-8847-8B8E-7AA532B1BB4D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15:49.422" v="3728" actId="1076"/>
        <pc:sldMkLst>
          <pc:docMk/>
          <pc:sldMk cId="1750090798" sldId="286"/>
        </pc:sldMkLst>
        <pc:spChg chg="mod">
          <ac:chgData name="Ito Koichi" userId="7c59a57e28e385d5" providerId="LiveId" clId="{7BE1A0C3-347C-9343-AD50-5497B70087AB}" dt="2022-02-02T01:13:19.030" v="3692" actId="20577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13:28.535" v="3693"/>
          <ac:spMkLst>
            <pc:docMk/>
            <pc:sldMk cId="1750090798" sldId="286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15:46.419" v="3727" actId="1076"/>
          <ac:picMkLst>
            <pc:docMk/>
            <pc:sldMk cId="1750090798" sldId="286"/>
            <ac:picMk id="8" creationId="{AED3D7F2-1427-F44D-AEE1-ACCEB20F2AD3}"/>
          </ac:picMkLst>
        </pc:pic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9" creationId="{F68A214B-F3FB-7B4C-8E80-4D68B0C40E8B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11" creationId="{0C0D4603-9F2F-4E48-8BED-3E5A527D84A0}"/>
          </ac:picMkLst>
        </pc:picChg>
        <pc:picChg chg="add del mod">
          <ac:chgData name="Ito Koichi" userId="7c59a57e28e385d5" providerId="LiveId" clId="{7BE1A0C3-347C-9343-AD50-5497B70087AB}" dt="2022-02-02T01:15:49.422" v="3728" actId="1076"/>
          <ac:picMkLst>
            <pc:docMk/>
            <pc:sldMk cId="1750090798" sldId="286"/>
            <ac:picMk id="13" creationId="{937303B2-5AE1-B540-89D1-14CD3615A660}"/>
          </ac:picMkLst>
        </pc:picChg>
        <pc:picChg chg="add del mod">
          <ac:chgData name="Ito Koichi" userId="7c59a57e28e385d5" providerId="LiveId" clId="{7BE1A0C3-347C-9343-AD50-5497B70087AB}" dt="2022-02-02T01:14:23.039" v="3708" actId="931"/>
          <ac:picMkLst>
            <pc:docMk/>
            <pc:sldMk cId="1750090798" sldId="286"/>
            <ac:picMk id="15" creationId="{87D2E9CB-AD4E-C142-BDE6-E842540A2C56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7" creationId="{02A611F8-4292-BA4B-8B08-2927A325C174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9" creationId="{DB3C990B-B8F2-004C-BFED-40B0B0AB122E}"/>
          </ac:picMkLst>
        </pc:picChg>
      </pc:sldChg>
      <pc:sldChg chg="addSp delSp modSp add mod">
        <pc:chgData name="Ito Koichi" userId="7c59a57e28e385d5" providerId="LiveId" clId="{7BE1A0C3-347C-9343-AD50-5497B70087AB}" dt="2022-02-02T01:17:17.889" v="3748" actId="1076"/>
        <pc:sldMkLst>
          <pc:docMk/>
          <pc:sldMk cId="3338456390" sldId="287"/>
        </pc:sldMkLst>
        <pc:spChg chg="mod">
          <ac:chgData name="Ito Koichi" userId="7c59a57e28e385d5" providerId="LiveId" clId="{7BE1A0C3-347C-9343-AD50-5497B70087AB}" dt="2022-02-02T01:16:26.241" v="3737"/>
          <ac:spMkLst>
            <pc:docMk/>
            <pc:sldMk cId="3338456390" sldId="287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2-02T01:16:08.014" v="3730" actId="478"/>
          <ac:spMkLst>
            <pc:docMk/>
            <pc:sldMk cId="3338456390" sldId="28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16:50.040" v="3742" actId="1076"/>
          <ac:picMkLst>
            <pc:docMk/>
            <pc:sldMk cId="3338456390" sldId="287"/>
            <ac:picMk id="6" creationId="{32A9E99F-C52D-2947-833A-651D1C84416C}"/>
          </ac:picMkLst>
        </pc:picChg>
        <pc:picChg chg="del mod">
          <ac:chgData name="Ito Koichi" userId="7c59a57e28e385d5" providerId="LiveId" clId="{7BE1A0C3-347C-9343-AD50-5497B70087AB}" dt="2022-02-02T01:17:09.091" v="3747" actId="478"/>
          <ac:picMkLst>
            <pc:docMk/>
            <pc:sldMk cId="3338456390" sldId="287"/>
            <ac:picMk id="8" creationId="{AED3D7F2-1427-F44D-AEE1-ACCEB20F2AD3}"/>
          </ac:picMkLst>
        </pc:picChg>
        <pc:picChg chg="add mod">
          <ac:chgData name="Ito Koichi" userId="7c59a57e28e385d5" providerId="LiveId" clId="{7BE1A0C3-347C-9343-AD50-5497B70087AB}" dt="2022-02-02T01:17:17.889" v="3748" actId="1076"/>
          <ac:picMkLst>
            <pc:docMk/>
            <pc:sldMk cId="3338456390" sldId="287"/>
            <ac:picMk id="9" creationId="{D8DE2264-331A-014E-A9B5-36BF2F5A661A}"/>
          </ac:picMkLst>
        </pc:picChg>
        <pc:picChg chg="del">
          <ac:chgData name="Ito Koichi" userId="7c59a57e28e385d5" providerId="LiveId" clId="{7BE1A0C3-347C-9343-AD50-5497B70087AB}" dt="2022-02-02T01:16:09.881" v="3732" actId="478"/>
          <ac:picMkLst>
            <pc:docMk/>
            <pc:sldMk cId="3338456390" sldId="287"/>
            <ac:picMk id="13" creationId="{937303B2-5AE1-B540-89D1-14CD3615A660}"/>
          </ac:picMkLst>
        </pc:picChg>
        <pc:picChg chg="del mod">
          <ac:chgData name="Ito Koichi" userId="7c59a57e28e385d5" providerId="LiveId" clId="{7BE1A0C3-347C-9343-AD50-5497B70087AB}" dt="2022-02-02T01:16:32.452" v="3738" actId="478"/>
          <ac:picMkLst>
            <pc:docMk/>
            <pc:sldMk cId="3338456390" sldId="287"/>
            <ac:picMk id="17" creationId="{02A611F8-4292-BA4B-8B08-2927A325C174}"/>
          </ac:picMkLst>
        </pc:picChg>
        <pc:picChg chg="del">
          <ac:chgData name="Ito Koichi" userId="7c59a57e28e385d5" providerId="LiveId" clId="{7BE1A0C3-347C-9343-AD50-5497B70087AB}" dt="2022-02-02T01:16:08.950" v="3731" actId="478"/>
          <ac:picMkLst>
            <pc:docMk/>
            <pc:sldMk cId="3338456390" sldId="287"/>
            <ac:picMk id="19" creationId="{DB3C990B-B8F2-004C-BFED-40B0B0AB122E}"/>
          </ac:picMkLst>
        </pc:picChg>
        <pc:cxnChg chg="del">
          <ac:chgData name="Ito Koichi" userId="7c59a57e28e385d5" providerId="LiveId" clId="{7BE1A0C3-347C-9343-AD50-5497B70087AB}" dt="2022-02-02T01:16:11.476" v="3733" actId="478"/>
          <ac:cxnSpMkLst>
            <pc:docMk/>
            <pc:sldMk cId="3338456390" sldId="287"/>
            <ac:cxnSpMk id="27" creationId="{3F56727B-45E8-4E49-B025-495D6EF252EC}"/>
          </ac:cxnSpMkLst>
        </pc:cxnChg>
      </pc:sldChg>
      <pc:sldChg chg="modSp add">
        <pc:chgData name="Ito Koichi" userId="7c59a57e28e385d5" providerId="LiveId" clId="{7BE1A0C3-347C-9343-AD50-5497B70087AB}" dt="2022-02-02T01:35:11.323" v="3750"/>
        <pc:sldMkLst>
          <pc:docMk/>
          <pc:sldMk cId="622223919" sldId="288"/>
        </pc:sldMkLst>
        <pc:spChg chg="mod">
          <ac:chgData name="Ito Koichi" userId="7c59a57e28e385d5" providerId="LiveId" clId="{7BE1A0C3-347C-9343-AD50-5497B70087AB}" dt="2022-02-02T01:35:11.323" v="3750"/>
          <ac:spMkLst>
            <pc:docMk/>
            <pc:sldMk cId="622223919" sldId="288"/>
            <ac:spMk id="2" creationId="{500B4985-5844-4EB1-9DE5-6177B9061EB1}"/>
          </ac:spMkLst>
        </pc:spChg>
      </pc:sldChg>
      <pc:sldChg chg="addSp delSp modSp new mod">
        <pc:chgData name="Ito Koichi" userId="7c59a57e28e385d5" providerId="LiveId" clId="{7BE1A0C3-347C-9343-AD50-5497B70087AB}" dt="2022-02-02T01:53:02.839" v="3819" actId="404"/>
        <pc:sldMkLst>
          <pc:docMk/>
          <pc:sldMk cId="135186025" sldId="289"/>
        </pc:sldMkLst>
        <pc:spChg chg="mod">
          <ac:chgData name="Ito Koichi" userId="7c59a57e28e385d5" providerId="LiveId" clId="{7BE1A0C3-347C-9343-AD50-5497B70087AB}" dt="2022-02-02T01:53:02.839" v="3819" actId="404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2T01:52:06.742" v="3800" actId="242"/>
          <ac:spMkLst>
            <pc:docMk/>
            <pc:sldMk cId="135186025" sldId="289"/>
            <ac:spMk id="3" creationId="{A2915D3D-5F82-804E-84E4-2931F4DD9DE1}"/>
          </ac:spMkLst>
        </pc:spChg>
        <pc:spChg chg="mod">
          <ac:chgData name="Ito Koichi" userId="7c59a57e28e385d5" providerId="LiveId" clId="{7BE1A0C3-347C-9343-AD50-5497B70087AB}" dt="2022-02-02T01:38:22.779" v="3771" actId="20577"/>
          <ac:spMkLst>
            <pc:docMk/>
            <pc:sldMk cId="135186025" sldId="289"/>
            <ac:spMk id="5" creationId="{555604FE-141D-6645-AB98-E5D4D3C90856}"/>
          </ac:spMkLst>
        </pc:spChg>
        <pc:spChg chg="add del">
          <ac:chgData name="Ito Koichi" userId="7c59a57e28e385d5" providerId="LiveId" clId="{7BE1A0C3-347C-9343-AD50-5497B70087AB}" dt="2022-02-02T01:37:44.718" v="3764" actId="22"/>
          <ac:spMkLst>
            <pc:docMk/>
            <pc:sldMk cId="135186025" sldId="289"/>
            <ac:spMk id="7" creationId="{502BB44B-7F2A-9441-8CFE-D91D0029BA74}"/>
          </ac:spMkLst>
        </pc:spChg>
      </pc:sldChg>
      <pc:sldChg chg="modSp add mod">
        <pc:chgData name="Ito Koichi" userId="7c59a57e28e385d5" providerId="LiveId" clId="{7BE1A0C3-347C-9343-AD50-5497B70087AB}" dt="2022-02-02T01:52:48.562" v="3813" actId="20577"/>
        <pc:sldMkLst>
          <pc:docMk/>
          <pc:sldMk cId="554892308" sldId="290"/>
        </pc:sldMkLst>
        <pc:spChg chg="mod">
          <ac:chgData name="Ito Koichi" userId="7c59a57e28e385d5" providerId="LiveId" clId="{7BE1A0C3-347C-9343-AD50-5497B70087AB}" dt="2022-02-02T01:52:48.562" v="3813" actId="20577"/>
          <ac:spMkLst>
            <pc:docMk/>
            <pc:sldMk cId="554892308" sldId="290"/>
            <ac:spMk id="2" creationId="{E01226A3-FD12-4BA7-ABF5-9D408688073E}"/>
          </ac:spMkLst>
        </pc:spChg>
      </pc:sldChg>
      <pc:sldChg chg="add del">
        <pc:chgData name="Ito Koichi" userId="7c59a57e28e385d5" providerId="LiveId" clId="{7BE1A0C3-347C-9343-AD50-5497B70087AB}" dt="2022-02-02T01:38:09.446" v="3766"/>
        <pc:sldMkLst>
          <pc:docMk/>
          <pc:sldMk cId="1232713700" sldId="290"/>
        </pc:sldMkLst>
      </pc:sldChg>
      <pc:sldChg chg="add del">
        <pc:chgData name="Ito Koichi" userId="7c59a57e28e385d5" providerId="LiveId" clId="{7BE1A0C3-347C-9343-AD50-5497B70087AB}" dt="2022-02-02T01:35:27.567" v="3755"/>
        <pc:sldMkLst>
          <pc:docMk/>
          <pc:sldMk cId="3761085717" sldId="290"/>
        </pc:sldMkLst>
      </pc:sldChg>
      <pc:sldChg chg="addSp delSp modSp add mod">
        <pc:chgData name="Ito Koichi" userId="7c59a57e28e385d5" providerId="LiveId" clId="{7BE1A0C3-347C-9343-AD50-5497B70087AB}" dt="2022-02-02T04:38:48.253" v="4661" actId="1076"/>
        <pc:sldMkLst>
          <pc:docMk/>
          <pc:sldMk cId="3274050655" sldId="291"/>
        </pc:sldMkLst>
        <pc:spChg chg="mod">
          <ac:chgData name="Ito Koichi" userId="7c59a57e28e385d5" providerId="LiveId" clId="{7BE1A0C3-347C-9343-AD50-5497B70087AB}" dt="2022-02-02T01:53:29.441" v="3839" actId="20577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Ito Koichi" userId="7c59a57e28e385d5" providerId="LiveId" clId="{7BE1A0C3-347C-9343-AD50-5497B70087AB}" dt="2022-02-02T02:09:13.837" v="3841" actId="478"/>
          <ac:spMkLst>
            <pc:docMk/>
            <pc:sldMk cId="3274050655" sldId="291"/>
            <ac:spMk id="3" creationId="{A2915D3D-5F82-804E-84E4-2931F4DD9DE1}"/>
          </ac:spMkLst>
        </pc:spChg>
        <pc:spChg chg="add mod">
          <ac:chgData name="Ito Koichi" userId="7c59a57e28e385d5" providerId="LiveId" clId="{7BE1A0C3-347C-9343-AD50-5497B70087AB}" dt="2022-02-02T04:38:48.253" v="4661" actId="1076"/>
          <ac:spMkLst>
            <pc:docMk/>
            <pc:sldMk cId="3274050655" sldId="291"/>
            <ac:spMk id="8" creationId="{4B1785D1-25D9-8245-9DA8-B3BA978307CE}"/>
          </ac:spMkLst>
        </pc:spChg>
        <pc:picChg chg="add mod">
          <ac:chgData name="Ito Koichi" userId="7c59a57e28e385d5" providerId="LiveId" clId="{7BE1A0C3-347C-9343-AD50-5497B70087AB}" dt="2022-02-02T02:09:58.311" v="3847" actId="1076"/>
          <ac:picMkLst>
            <pc:docMk/>
            <pc:sldMk cId="3274050655" sldId="291"/>
            <ac:picMk id="7" creationId="{12C57E33-EEC0-134A-B946-648A5E294B3C}"/>
          </ac:picMkLst>
        </pc:picChg>
      </pc:sldChg>
      <pc:sldChg chg="addSp delSp modSp add mod">
        <pc:chgData name="Ito Koichi" userId="7c59a57e28e385d5" providerId="LiveId" clId="{7BE1A0C3-347C-9343-AD50-5497B70087AB}" dt="2022-02-02T02:22:31.140" v="4016" actId="1076"/>
        <pc:sldMkLst>
          <pc:docMk/>
          <pc:sldMk cId="3240112873" sldId="292"/>
        </pc:sldMkLst>
        <pc:spChg chg="mod">
          <ac:chgData name="Ito Koichi" userId="7c59a57e28e385d5" providerId="LiveId" clId="{7BE1A0C3-347C-9343-AD50-5497B70087AB}" dt="2022-02-02T02:19:35.003" v="3908" actId="1076"/>
          <ac:spMkLst>
            <pc:docMk/>
            <pc:sldMk cId="3240112873" sldId="292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21:58.991" v="3997" actId="1076"/>
          <ac:spMkLst>
            <pc:docMk/>
            <pc:sldMk cId="3240112873" sldId="292"/>
            <ac:spMk id="18" creationId="{D879A2B5-BC95-2241-8DB6-026988020C38}"/>
          </ac:spMkLst>
        </pc:spChg>
        <pc:spChg chg="add del mod">
          <ac:chgData name="Ito Koichi" userId="7c59a57e28e385d5" providerId="LiveId" clId="{7BE1A0C3-347C-9343-AD50-5497B70087AB}" dt="2022-02-02T02:22:02.173" v="3999"/>
          <ac:spMkLst>
            <pc:docMk/>
            <pc:sldMk cId="3240112873" sldId="292"/>
            <ac:spMk id="19" creationId="{B3F6C118-F37F-F540-9CA6-8ED5EC2C195C}"/>
          </ac:spMkLst>
        </pc:spChg>
        <pc:spChg chg="add mod">
          <ac:chgData name="Ito Koichi" userId="7c59a57e28e385d5" providerId="LiveId" clId="{7BE1A0C3-347C-9343-AD50-5497B70087AB}" dt="2022-02-02T02:22:31.140" v="4016" actId="1076"/>
          <ac:spMkLst>
            <pc:docMk/>
            <pc:sldMk cId="3240112873" sldId="292"/>
            <ac:spMk id="20" creationId="{4CE8987E-CB50-E040-9A29-96A5CDDC05A5}"/>
          </ac:spMkLst>
        </pc:spChg>
        <pc:picChg chg="add del mod">
          <ac:chgData name="Ito Koichi" userId="7c59a57e28e385d5" providerId="LiveId" clId="{7BE1A0C3-347C-9343-AD50-5497B70087AB}" dt="2022-02-02T02:19:54.025" v="3919" actId="1076"/>
          <ac:picMkLst>
            <pc:docMk/>
            <pc:sldMk cId="3240112873" sldId="292"/>
            <ac:picMk id="6" creationId="{3FEE6BFA-BA56-2247-A852-8F6CDA666AE2}"/>
          </ac:picMkLst>
        </pc:picChg>
        <pc:picChg chg="add del">
          <ac:chgData name="Ito Koichi" userId="7c59a57e28e385d5" providerId="LiveId" clId="{7BE1A0C3-347C-9343-AD50-5497B70087AB}" dt="2022-02-02T02:19:49.750" v="3918" actId="478"/>
          <ac:picMkLst>
            <pc:docMk/>
            <pc:sldMk cId="3240112873" sldId="292"/>
            <ac:picMk id="7" creationId="{12C57E33-EEC0-134A-B946-648A5E294B3C}"/>
          </ac:picMkLst>
        </pc:picChg>
        <pc:cxnChg chg="add del">
          <ac:chgData name="Ito Koichi" userId="7c59a57e28e385d5" providerId="LiveId" clId="{7BE1A0C3-347C-9343-AD50-5497B70087AB}" dt="2022-02-02T02:19:10.519" v="3901" actId="11529"/>
          <ac:cxnSpMkLst>
            <pc:docMk/>
            <pc:sldMk cId="3240112873" sldId="292"/>
            <ac:cxnSpMk id="10" creationId="{83C9C11B-7B34-8049-A803-8F07042CF75C}"/>
          </ac:cxnSpMkLst>
        </pc:cxnChg>
        <pc:cxnChg chg="add del mod">
          <ac:chgData name="Ito Koichi" userId="7c59a57e28e385d5" providerId="LiveId" clId="{7BE1A0C3-347C-9343-AD50-5497B70087AB}" dt="2022-02-02T02:19:43.967" v="3912" actId="11529"/>
          <ac:cxnSpMkLst>
            <pc:docMk/>
            <pc:sldMk cId="3240112873" sldId="292"/>
            <ac:cxnSpMk id="12" creationId="{2CE18977-4073-C542-8D48-12E1178845E8}"/>
          </ac:cxnSpMkLst>
        </pc:cxnChg>
        <pc:cxnChg chg="add mod">
          <ac:chgData name="Ito Koichi" userId="7c59a57e28e385d5" providerId="LiveId" clId="{7BE1A0C3-347C-9343-AD50-5497B70087AB}" dt="2022-02-02T02:20:56.042" v="3928" actId="1076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addSp delSp modSp add mod ord">
        <pc:chgData name="Ito Koichi" userId="7c59a57e28e385d5" providerId="LiveId" clId="{7BE1A0C3-347C-9343-AD50-5497B70087AB}" dt="2022-02-02T03:11:49.406" v="4635"/>
        <pc:sldMkLst>
          <pc:docMk/>
          <pc:sldMk cId="1719800161" sldId="293"/>
        </pc:sldMkLst>
        <pc:spChg chg="add del mod">
          <ac:chgData name="Ito Koichi" userId="7c59a57e28e385d5" providerId="LiveId" clId="{7BE1A0C3-347C-9343-AD50-5497B70087AB}" dt="2022-02-02T02:31:17.074" v="4024" actId="478"/>
          <ac:spMkLst>
            <pc:docMk/>
            <pc:sldMk cId="1719800161" sldId="293"/>
            <ac:spMk id="3" creationId="{E2094E98-A838-C549-9AA5-580CFB2448A4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55:24.690" v="4597" actId="20577"/>
          <ac:spMkLst>
            <pc:docMk/>
            <pc:sldMk cId="1719800161" sldId="293"/>
            <ac:spMk id="11" creationId="{45A5DD93-A1AF-5746-972E-49A4319FA09D}"/>
          </ac:spMkLst>
        </pc:spChg>
        <pc:spChg chg="add mod">
          <ac:chgData name="Ito Koichi" userId="7c59a57e28e385d5" providerId="LiveId" clId="{7BE1A0C3-347C-9343-AD50-5497B70087AB}" dt="2022-02-02T02:55:20.274" v="4595" actId="20577"/>
          <ac:spMkLst>
            <pc:docMk/>
            <pc:sldMk cId="1719800161" sldId="293"/>
            <ac:spMk id="12" creationId="{5451D439-10BE-E943-865B-904BB9B0F698}"/>
          </ac:spMkLst>
        </pc:spChg>
        <pc:spChg chg="add mod">
          <ac:chgData name="Ito Koichi" userId="7c59a57e28e385d5" providerId="LiveId" clId="{7BE1A0C3-347C-9343-AD50-5497B70087AB}" dt="2022-02-02T02:53:39.968" v="4536" actId="207"/>
          <ac:spMkLst>
            <pc:docMk/>
            <pc:sldMk cId="1719800161" sldId="293"/>
            <ac:spMk id="13" creationId="{5DA73574-BA7B-F048-BB3C-79C26945A8BF}"/>
          </ac:spMkLst>
        </pc:spChg>
        <pc:spChg chg="add mod">
          <ac:chgData name="Ito Koichi" userId="7c59a57e28e385d5" providerId="LiveId" clId="{7BE1A0C3-347C-9343-AD50-5497B70087AB}" dt="2022-02-02T02:46:33.623" v="4352" actId="20577"/>
          <ac:spMkLst>
            <pc:docMk/>
            <pc:sldMk cId="1719800161" sldId="293"/>
            <ac:spMk id="14" creationId="{3D186C8D-CD10-3040-94FB-61A3FEB9D4D8}"/>
          </ac:spMkLst>
        </pc:spChg>
        <pc:spChg chg="add mod">
          <ac:chgData name="Ito Koichi" userId="7c59a57e28e385d5" providerId="LiveId" clId="{7BE1A0C3-347C-9343-AD50-5497B70087AB}" dt="2022-02-02T02:47:40.880" v="4427" actId="20577"/>
          <ac:spMkLst>
            <pc:docMk/>
            <pc:sldMk cId="1719800161" sldId="293"/>
            <ac:spMk id="16" creationId="{C07AE6E9-06D3-FB43-A5BA-69474ABEA7D5}"/>
          </ac:spMkLst>
        </pc:spChg>
        <pc:spChg chg="add mod">
          <ac:chgData name="Ito Koichi" userId="7c59a57e28e385d5" providerId="LiveId" clId="{7BE1A0C3-347C-9343-AD50-5497B70087AB}" dt="2022-02-02T02:48:32.961" v="4506" actId="20577"/>
          <ac:spMkLst>
            <pc:docMk/>
            <pc:sldMk cId="1719800161" sldId="293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18" creationId="{D879A2B5-BC95-2241-8DB6-026988020C38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20" creationId="{4CE8987E-CB50-E040-9A29-96A5CDDC05A5}"/>
          </ac:spMkLst>
        </pc:spChg>
        <pc:spChg chg="add mod">
          <ac:chgData name="Ito Koichi" userId="7c59a57e28e385d5" providerId="LiveId" clId="{7BE1A0C3-347C-9343-AD50-5497B70087AB}" dt="2022-02-02T02:55:03.227" v="4582" actId="1076"/>
          <ac:spMkLst>
            <pc:docMk/>
            <pc:sldMk cId="1719800161" sldId="293"/>
            <ac:spMk id="23" creationId="{A120109A-1F0C-E547-A644-2A36EDBCAD14}"/>
          </ac:spMkLst>
        </pc:spChg>
        <pc:picChg chg="del">
          <ac:chgData name="Ito Koichi" userId="7c59a57e28e385d5" providerId="LiveId" clId="{7BE1A0C3-347C-9343-AD50-5497B70087AB}" dt="2022-02-02T02:29:02.109" v="4018" actId="478"/>
          <ac:picMkLst>
            <pc:docMk/>
            <pc:sldMk cId="1719800161" sldId="293"/>
            <ac:picMk id="6" creationId="{3FEE6BFA-BA56-2247-A852-8F6CDA666AE2}"/>
          </ac:picMkLst>
        </pc:picChg>
        <pc:picChg chg="add mod">
          <ac:chgData name="Ito Koichi" userId="7c59a57e28e385d5" providerId="LiveId" clId="{7BE1A0C3-347C-9343-AD50-5497B70087AB}" dt="2022-02-02T02:49:33.766" v="4518" actId="1076"/>
          <ac:picMkLst>
            <pc:docMk/>
            <pc:sldMk cId="1719800161" sldId="293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2:49:58.162" v="4524" actId="1076"/>
          <ac:picMkLst>
            <pc:docMk/>
            <pc:sldMk cId="1719800161" sldId="293"/>
            <ac:picMk id="19" creationId="{054B1CEE-4795-7341-89AE-A53424929FAC}"/>
          </ac:picMkLst>
        </pc:picChg>
        <pc:picChg chg="add mod">
          <ac:chgData name="Ito Koichi" userId="7c59a57e28e385d5" providerId="LiveId" clId="{7BE1A0C3-347C-9343-AD50-5497B70087AB}" dt="2022-02-02T02:55:10.997" v="4583" actId="1076"/>
          <ac:picMkLst>
            <pc:docMk/>
            <pc:sldMk cId="1719800161" sldId="293"/>
            <ac:picMk id="22" creationId="{549DB525-90E9-C743-BF3F-84A6449C277D}"/>
          </ac:picMkLst>
        </pc:picChg>
        <pc:picChg chg="add mod">
          <ac:chgData name="Ito Koichi" userId="7c59a57e28e385d5" providerId="LiveId" clId="{7BE1A0C3-347C-9343-AD50-5497B70087AB}" dt="2022-02-02T02:56:50.345" v="4603" actId="1076"/>
          <ac:picMkLst>
            <pc:docMk/>
            <pc:sldMk cId="1719800161" sldId="293"/>
            <ac:picMk id="25" creationId="{ABEA64FF-1E14-DD46-B894-4F6B56F9BBC2}"/>
          </ac:picMkLst>
        </pc:picChg>
        <pc:picChg chg="add mod">
          <ac:chgData name="Ito Koichi" userId="7c59a57e28e385d5" providerId="LiveId" clId="{7BE1A0C3-347C-9343-AD50-5497B70087AB}" dt="2022-02-02T02:58:28.829" v="4609" actId="1076"/>
          <ac:picMkLst>
            <pc:docMk/>
            <pc:sldMk cId="1719800161" sldId="293"/>
            <ac:picMk id="27" creationId="{F309D655-1F27-F840-B8FE-9BE6D9161EA4}"/>
          </ac:picMkLst>
        </pc:picChg>
        <pc:picChg chg="add mod">
          <ac:chgData name="Ito Koichi" userId="7c59a57e28e385d5" providerId="LiveId" clId="{7BE1A0C3-347C-9343-AD50-5497B70087AB}" dt="2022-02-02T02:59:53.596" v="4616" actId="1076"/>
          <ac:picMkLst>
            <pc:docMk/>
            <pc:sldMk cId="1719800161" sldId="293"/>
            <ac:picMk id="29" creationId="{88BF7E4B-A168-1C41-A6C4-F09759E8E0E1}"/>
          </ac:picMkLst>
        </pc:picChg>
        <pc:cxnChg chg="del">
          <ac:chgData name="Ito Koichi" userId="7c59a57e28e385d5" providerId="LiveId" clId="{7BE1A0C3-347C-9343-AD50-5497B70087AB}" dt="2022-02-02T02:29:09.860" v="4020" actId="478"/>
          <ac:cxnSpMkLst>
            <pc:docMk/>
            <pc:sldMk cId="1719800161" sldId="293"/>
            <ac:cxnSpMk id="15" creationId="{3DE7E802-A695-A14B-A652-CF1F650CE83F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0" creationId="{1BD2AD53-D1C3-B046-BC21-59AD5A048F72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1" creationId="{C3827F51-8158-8D42-8137-D83B270BBFB8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addSp delSp modSp add mod">
        <pc:chgData name="Ito Koichi" userId="7c59a57e28e385d5" providerId="LiveId" clId="{7BE1A0C3-347C-9343-AD50-5497B70087AB}" dt="2022-02-02T04:41:30.816" v="4665" actId="20577"/>
        <pc:sldMkLst>
          <pc:docMk/>
          <pc:sldMk cId="3010995884" sldId="294"/>
        </pc:sldMkLst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1" creationId="{45A5DD93-A1AF-5746-972E-49A4319FA09D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2" creationId="{5451D439-10BE-E943-865B-904BB9B0F69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3" creationId="{5DA73574-BA7B-F048-BB3C-79C26945A8BF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4" creationId="{3D186C8D-CD10-3040-94FB-61A3FEB9D4D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6" creationId="{C07AE6E9-06D3-FB43-A5BA-69474ABEA7D5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23" creationId="{A120109A-1F0C-E547-A644-2A36EDBCAD14}"/>
          </ac:spMkLst>
        </pc:spChg>
        <pc:spChg chg="add mod">
          <ac:chgData name="Ito Koichi" userId="7c59a57e28e385d5" providerId="LiveId" clId="{7BE1A0C3-347C-9343-AD50-5497B70087AB}" dt="2022-02-02T04:41:30.816" v="4665" actId="20577"/>
          <ac:spMkLst>
            <pc:docMk/>
            <pc:sldMk cId="3010995884" sldId="294"/>
            <ac:spMk id="28" creationId="{6D4F0C8F-C955-1944-A577-D6DF9F25E179}"/>
          </ac:spMkLst>
        </pc:sp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4:38:27.686" v="4642" actId="1076"/>
          <ac:picMkLst>
            <pc:docMk/>
            <pc:sldMk cId="3010995884" sldId="294"/>
            <ac:picMk id="10" creationId="{46B4D6BB-084C-274D-8535-DBA6BE0DB789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19" creationId="{054B1CEE-4795-7341-89AE-A53424929FAC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2" creationId="{549DB525-90E9-C743-BF3F-84A6449C277D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5" creationId="{ABEA64FF-1E14-DD46-B894-4F6B56F9BBC2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7" creationId="{F309D655-1F27-F840-B8FE-9BE6D9161EA4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9" creationId="{88BF7E4B-A168-1C41-A6C4-F09759E8E0E1}"/>
          </ac:picMkLst>
        </pc:pic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18" creationId="{CF00B7F1-0D79-2F46-A8DD-A129973E2340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0" creationId="{7C17F821-DBC5-4848-A21C-F1D9769D6D4E}"/>
          </ac:cxnSpMkLst>
        </pc:cxnChg>
        <pc:cxnChg chg="add del mod">
          <ac:chgData name="Ito Koichi" userId="7c59a57e28e385d5" providerId="LiveId" clId="{7BE1A0C3-347C-9343-AD50-5497B70087AB}" dt="2022-02-02T03:10:10.679" v="4629"/>
          <ac:cxnSpMkLst>
            <pc:docMk/>
            <pc:sldMk cId="3010995884" sldId="294"/>
            <ac:cxnSpMk id="24" creationId="{ACED4199-3F86-9D41-A56E-EBBEF4CE91E4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6" creationId="{3798A141-9AA8-7942-A474-794609AFC358}"/>
          </ac:cxnSpMkLst>
        </pc:cxnChg>
      </pc:sldChg>
      <pc:sldChg chg="addSp delSp modSp add mod">
        <pc:chgData name="Ito Koichi" userId="7c59a57e28e385d5" providerId="LiveId" clId="{7BE1A0C3-347C-9343-AD50-5497B70087AB}" dt="2022-02-02T05:20:07.424" v="4829" actId="1076"/>
        <pc:sldMkLst>
          <pc:docMk/>
          <pc:sldMk cId="793778490" sldId="295"/>
        </pc:sldMkLst>
        <pc:spChg chg="add mod">
          <ac:chgData name="Ito Koichi" userId="7c59a57e28e385d5" providerId="LiveId" clId="{7BE1A0C3-347C-9343-AD50-5497B70087AB}" dt="2022-02-02T05:08:54.642" v="4804" actId="20577"/>
          <ac:spMkLst>
            <pc:docMk/>
            <pc:sldMk cId="793778490" sldId="295"/>
            <ac:spMk id="7" creationId="{726EACEF-83EB-C249-AEE0-7E735D27208C}"/>
          </ac:spMkLst>
        </pc:spChg>
        <pc:spChg chg="add mod">
          <ac:chgData name="Ito Koichi" userId="7c59a57e28e385d5" providerId="LiveId" clId="{7BE1A0C3-347C-9343-AD50-5497B70087AB}" dt="2022-02-02T05:10:52.339" v="4810" actId="20577"/>
          <ac:spMkLst>
            <pc:docMk/>
            <pc:sldMk cId="793778490" sldId="295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2T04:53:11.448" v="4667" actId="478"/>
          <ac:spMkLst>
            <pc:docMk/>
            <pc:sldMk cId="793778490" sldId="295"/>
            <ac:spMk id="28" creationId="{6D4F0C8F-C955-1944-A577-D6DF9F25E179}"/>
          </ac:spMkLst>
        </pc:sp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6" creationId="{DB6DBBCE-22AE-E542-8844-AB48F83384E4}"/>
          </ac:picMkLst>
        </pc:picChg>
        <pc:picChg chg="del">
          <ac:chgData name="Ito Koichi" userId="7c59a57e28e385d5" providerId="LiveId" clId="{7BE1A0C3-347C-9343-AD50-5497B70087AB}" dt="2022-02-02T04:53:11.448" v="4667" actId="478"/>
          <ac:picMkLst>
            <pc:docMk/>
            <pc:sldMk cId="793778490" sldId="295"/>
            <ac:picMk id="10" creationId="{46B4D6BB-084C-274D-8535-DBA6BE0DB789}"/>
          </ac:picMkLst>
        </pc:pic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12" creationId="{A2D4085A-7F8A-984B-AE50-567037012888}"/>
          </ac:picMkLst>
        </pc:picChg>
        <pc:cxnChg chg="add mod">
          <ac:chgData name="Ito Koichi" userId="7c59a57e28e385d5" providerId="LiveId" clId="{7BE1A0C3-347C-9343-AD50-5497B70087AB}" dt="2022-02-02T04:53:46.254" v="4668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addSp delSp modSp add mod">
        <pc:chgData name="Ito Koichi" userId="7c59a57e28e385d5" providerId="LiveId" clId="{7BE1A0C3-347C-9343-AD50-5497B70087AB}" dt="2022-02-02T04:59:06.361" v="4773" actId="122"/>
        <pc:sldMkLst>
          <pc:docMk/>
          <pc:sldMk cId="3178002913" sldId="296"/>
        </pc:sldMkLst>
        <pc:spChg chg="add mod">
          <ac:chgData name="Ito Koichi" userId="7c59a57e28e385d5" providerId="LiveId" clId="{7BE1A0C3-347C-9343-AD50-5497B70087AB}" dt="2022-02-02T04:59:06.361" v="4773" actId="122"/>
          <ac:spMkLst>
            <pc:docMk/>
            <pc:sldMk cId="3178002913" sldId="296"/>
            <ac:spMk id="11" creationId="{EF263226-25B0-EA4D-82E2-964609E62687}"/>
          </ac:spMkLst>
        </pc:spChg>
        <pc:spChg chg="del">
          <ac:chgData name="Ito Koichi" userId="7c59a57e28e385d5" providerId="LiveId" clId="{7BE1A0C3-347C-9343-AD50-5497B70087AB}" dt="2022-02-02T04:54:02.250" v="4670" actId="478"/>
          <ac:spMkLst>
            <pc:docMk/>
            <pc:sldMk cId="3178002913" sldId="296"/>
            <ac:spMk id="28" creationId="{6D4F0C8F-C955-1944-A577-D6DF9F25E179}"/>
          </ac:spMkLst>
        </pc:spChg>
        <pc:picChg chg="add del mod">
          <ac:chgData name="Ito Koichi" userId="7c59a57e28e385d5" providerId="LiveId" clId="{7BE1A0C3-347C-9343-AD50-5497B70087AB}" dt="2022-02-02T04:54:23.515" v="4672" actId="478"/>
          <ac:picMkLst>
            <pc:docMk/>
            <pc:sldMk cId="3178002913" sldId="296"/>
            <ac:picMk id="6" creationId="{EF87BE54-DB73-0C4B-AA17-54CF7DB5B9B3}"/>
          </ac:picMkLst>
        </pc:picChg>
        <pc:picChg chg="add mod">
          <ac:chgData name="Ito Koichi" userId="7c59a57e28e385d5" providerId="LiveId" clId="{7BE1A0C3-347C-9343-AD50-5497B70087AB}" dt="2022-02-02T04:56:16.111" v="4679" actId="1076"/>
          <ac:picMkLst>
            <pc:docMk/>
            <pc:sldMk cId="3178002913" sldId="296"/>
            <ac:picMk id="8" creationId="{A238EC32-21BF-A746-BC30-55E23D067C3C}"/>
          </ac:picMkLst>
        </pc:picChg>
        <pc:picChg chg="del">
          <ac:chgData name="Ito Koichi" userId="7c59a57e28e385d5" providerId="LiveId" clId="{7BE1A0C3-347C-9343-AD50-5497B70087AB}" dt="2022-02-02T04:54:02.250" v="4670" actId="478"/>
          <ac:picMkLst>
            <pc:docMk/>
            <pc:sldMk cId="3178002913" sldId="296"/>
            <ac:picMk id="10" creationId="{46B4D6BB-084C-274D-8535-DBA6BE0DB789}"/>
          </ac:picMkLst>
        </pc:picChg>
      </pc:sldChg>
      <pc:sldChg chg="modSp add mod">
        <pc:chgData name="Ito Koichi" userId="7c59a57e28e385d5" providerId="LiveId" clId="{7BE1A0C3-347C-9343-AD50-5497B70087AB}" dt="2022-02-02T07:43:43.424" v="4835" actId="20577"/>
        <pc:sldMkLst>
          <pc:docMk/>
          <pc:sldMk cId="3044218326" sldId="297"/>
        </pc:sldMkLst>
        <pc:spChg chg="mod">
          <ac:chgData name="Ito Koichi" userId="7c59a57e28e385d5" providerId="LiveId" clId="{7BE1A0C3-347C-9343-AD50-5497B70087AB}" dt="2022-02-02T07:43:43.424" v="4835" actId="20577"/>
          <ac:spMkLst>
            <pc:docMk/>
            <pc:sldMk cId="3044218326" sldId="297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3T04:34:28.544" v="4912" actId="20577"/>
        <pc:sldMkLst>
          <pc:docMk/>
          <pc:sldMk cId="3283517966" sldId="298"/>
        </pc:sldMkLst>
        <pc:spChg chg="mod">
          <ac:chgData name="Ito Koichi" userId="7c59a57e28e385d5" providerId="LiveId" clId="{7BE1A0C3-347C-9343-AD50-5497B70087AB}" dt="2022-02-03T04:34:28.544" v="4912" actId="20577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2T08:04:58.139" v="4843" actId="14826"/>
          <ac:picMkLst>
            <pc:docMk/>
            <pc:sldMk cId="3283517966" sldId="298"/>
            <ac:picMk id="8" creationId="{A238EC32-21BF-A746-BC30-55E23D067C3C}"/>
          </ac:picMkLst>
        </pc:picChg>
      </pc:sldChg>
      <pc:sldChg chg="addSp delSp modSp add mod">
        <pc:chgData name="Ito Koichi" userId="7c59a57e28e385d5" providerId="LiveId" clId="{7BE1A0C3-347C-9343-AD50-5497B70087AB}" dt="2022-02-03T13:47:43.101" v="6297" actId="20577"/>
        <pc:sldMkLst>
          <pc:docMk/>
          <pc:sldMk cId="3339642416" sldId="299"/>
        </pc:sldMkLst>
        <pc:spChg chg="mod">
          <ac:chgData name="Ito Koichi" userId="7c59a57e28e385d5" providerId="LiveId" clId="{7BE1A0C3-347C-9343-AD50-5497B70087AB}" dt="2022-02-03T13:47:43.101" v="6297" actId="20577"/>
          <ac:spMkLst>
            <pc:docMk/>
            <pc:sldMk cId="3339642416" sldId="29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4:35:03.354" v="4956" actId="20577"/>
          <ac:spMkLst>
            <pc:docMk/>
            <pc:sldMk cId="3339642416" sldId="299"/>
            <ac:spMk id="11" creationId="{EF263226-25B0-EA4D-82E2-964609E62687}"/>
          </ac:spMkLst>
        </pc:spChg>
        <pc:picChg chg="add del mod">
          <ac:chgData name="Ito Koichi" userId="7c59a57e28e385d5" providerId="LiveId" clId="{7BE1A0C3-347C-9343-AD50-5497B70087AB}" dt="2022-02-03T12:14:54.834" v="5011" actId="478"/>
          <ac:picMkLst>
            <pc:docMk/>
            <pc:sldMk cId="3339642416" sldId="299"/>
            <ac:picMk id="6" creationId="{0EAF75CA-CA4F-404C-9D31-2A0C3082DA40}"/>
          </ac:picMkLst>
        </pc:picChg>
        <pc:picChg chg="del">
          <ac:chgData name="Ito Koichi" userId="7c59a57e28e385d5" providerId="LiveId" clId="{7BE1A0C3-347C-9343-AD50-5497B70087AB}" dt="2022-02-03T04:35:06.196" v="4957" actId="478"/>
          <ac:picMkLst>
            <pc:docMk/>
            <pc:sldMk cId="3339642416" sldId="299"/>
            <ac:picMk id="8" creationId="{A238EC32-21BF-A746-BC30-55E23D067C3C}"/>
          </ac:picMkLst>
        </pc:picChg>
        <pc:picChg chg="add mod">
          <ac:chgData name="Ito Koichi" userId="7c59a57e28e385d5" providerId="LiveId" clId="{7BE1A0C3-347C-9343-AD50-5497B70087AB}" dt="2022-02-03T12:15:00.195" v="5012" actId="14826"/>
          <ac:picMkLst>
            <pc:docMk/>
            <pc:sldMk cId="3339642416" sldId="299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7:51.308" v="6298"/>
        <pc:sldMkLst>
          <pc:docMk/>
          <pc:sldMk cId="2017790741" sldId="300"/>
        </pc:sldMkLst>
        <pc:spChg chg="mod">
          <ac:chgData name="Ito Koichi" userId="7c59a57e28e385d5" providerId="LiveId" clId="{7BE1A0C3-347C-9343-AD50-5497B70087AB}" dt="2022-02-03T13:47:51.308" v="6298"/>
          <ac:spMkLst>
            <pc:docMk/>
            <pc:sldMk cId="2017790741" sldId="30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8:47:39.884" v="4966" actId="20577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08:48:26.920" v="5006" actId="20577"/>
          <ac:spMkLst>
            <pc:docMk/>
            <pc:sldMk cId="2017790741" sldId="300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17:09.463" v="5013" actId="478"/>
          <ac:picMkLst>
            <pc:docMk/>
            <pc:sldMk cId="2017790741" sldId="300"/>
            <ac:picMk id="6" creationId="{DB6DBBCE-22AE-E542-8844-AB48F83384E4}"/>
          </ac:picMkLst>
        </pc:picChg>
        <pc:picChg chg="add mod">
          <ac:chgData name="Ito Koichi" userId="7c59a57e28e385d5" providerId="LiveId" clId="{7BE1A0C3-347C-9343-AD50-5497B70087AB}" dt="2022-02-03T12:18:48.253" v="5025" actId="1076"/>
          <ac:picMkLst>
            <pc:docMk/>
            <pc:sldMk cId="2017790741" sldId="300"/>
            <ac:picMk id="10" creationId="{34B30F73-EEEF-3D47-BC8D-477E46EEB5C7}"/>
          </ac:picMkLst>
        </pc:picChg>
        <pc:picChg chg="del">
          <ac:chgData name="Ito Koichi" userId="7c59a57e28e385d5" providerId="LiveId" clId="{7BE1A0C3-347C-9343-AD50-5497B70087AB}" dt="2022-02-03T12:17:10.452" v="5014" actId="478"/>
          <ac:picMkLst>
            <pc:docMk/>
            <pc:sldMk cId="2017790741" sldId="300"/>
            <ac:picMk id="12" creationId="{A2D4085A-7F8A-984B-AE50-567037012888}"/>
          </ac:picMkLst>
        </pc:picChg>
        <pc:picChg chg="add mod">
          <ac:chgData name="Ito Koichi" userId="7c59a57e28e385d5" providerId="LiveId" clId="{7BE1A0C3-347C-9343-AD50-5497B70087AB}" dt="2022-02-03T12:18:44.438" v="5023" actId="1076"/>
          <ac:picMkLst>
            <pc:docMk/>
            <pc:sldMk cId="2017790741" sldId="300"/>
            <ac:picMk id="13" creationId="{AA38F203-0968-C343-95F0-A1B2E60EBB10}"/>
          </ac:picMkLst>
        </pc:picChg>
        <pc:picChg chg="add mod">
          <ac:chgData name="Ito Koichi" userId="7c59a57e28e385d5" providerId="LiveId" clId="{7BE1A0C3-347C-9343-AD50-5497B70087AB}" dt="2022-02-03T12:18:54.655" v="5027" actId="1076"/>
          <ac:picMkLst>
            <pc:docMk/>
            <pc:sldMk cId="2017790741" sldId="300"/>
            <ac:picMk id="15" creationId="{592017E5-5CD5-FE49-9EEB-3EF6FE972D08}"/>
          </ac:picMkLst>
        </pc:picChg>
      </pc:sldChg>
      <pc:sldChg chg="modSp add mod">
        <pc:chgData name="Ito Koichi" userId="7c59a57e28e385d5" providerId="LiveId" clId="{7BE1A0C3-347C-9343-AD50-5497B70087AB}" dt="2022-02-03T13:47:55.265" v="6299"/>
        <pc:sldMkLst>
          <pc:docMk/>
          <pc:sldMk cId="1200639827" sldId="301"/>
        </pc:sldMkLst>
        <pc:spChg chg="mod">
          <ac:chgData name="Ito Koichi" userId="7c59a57e28e385d5" providerId="LiveId" clId="{7BE1A0C3-347C-9343-AD50-5497B70087AB}" dt="2022-02-03T13:47:55.265" v="6299"/>
          <ac:spMkLst>
            <pc:docMk/>
            <pc:sldMk cId="1200639827" sldId="301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19:27.978" v="5034" actId="20577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19:50.272" v="5035" actId="14826"/>
          <ac:picMkLst>
            <pc:docMk/>
            <pc:sldMk cId="1200639827" sldId="301"/>
            <ac:picMk id="9" creationId="{6DC7D8C0-81D2-2741-AD47-8F9FA8C336E5}"/>
          </ac:picMkLst>
        </pc:picChg>
      </pc:sldChg>
      <pc:sldChg chg="modSp add mod">
        <pc:chgData name="Ito Koichi" userId="7c59a57e28e385d5" providerId="LiveId" clId="{7BE1A0C3-347C-9343-AD50-5497B70087AB}" dt="2022-02-03T13:48:03.984" v="6330" actId="20577"/>
        <pc:sldMkLst>
          <pc:docMk/>
          <pc:sldMk cId="861466284" sldId="302"/>
        </pc:sldMkLst>
        <pc:spChg chg="mod">
          <ac:chgData name="Ito Koichi" userId="7c59a57e28e385d5" providerId="LiveId" clId="{7BE1A0C3-347C-9343-AD50-5497B70087AB}" dt="2022-02-03T13:48:03.984" v="6330" actId="20577"/>
          <ac:spMkLst>
            <pc:docMk/>
            <pc:sldMk cId="861466284" sldId="30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0:55.909" v="5131" actId="20577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23:17.687" v="5132" actId="14826"/>
          <ac:picMkLst>
            <pc:docMk/>
            <pc:sldMk cId="861466284" sldId="302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8:07.407" v="6331"/>
        <pc:sldMkLst>
          <pc:docMk/>
          <pc:sldMk cId="3926047802" sldId="303"/>
        </pc:sldMkLst>
        <pc:spChg chg="mod">
          <ac:chgData name="Ito Koichi" userId="7c59a57e28e385d5" providerId="LiveId" clId="{7BE1A0C3-347C-9343-AD50-5497B70087AB}" dt="2022-02-03T13:48:07.407" v="6331"/>
          <ac:spMkLst>
            <pc:docMk/>
            <pc:sldMk cId="3926047802" sldId="30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6:25.908" v="5270" actId="20577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8:41.126" v="5465" actId="20577"/>
          <ac:spMkLst>
            <pc:docMk/>
            <pc:sldMk cId="3926047802" sldId="303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29:49.258" v="5416" actId="1076"/>
          <ac:picMkLst>
            <pc:docMk/>
            <pc:sldMk cId="3926047802" sldId="303"/>
            <ac:picMk id="6" creationId="{FCAB92E5-F791-4C4D-8E31-0420692ADB98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2-03T12:29:51.292" v="5417" actId="1076"/>
          <ac:picMkLst>
            <pc:docMk/>
            <pc:sldMk cId="3926047802" sldId="303"/>
            <ac:picMk id="12" creationId="{DB61BE00-278E-7042-BBDC-F9CF152A8E59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5" creationId="{592017E5-5CD5-FE49-9EEB-3EF6FE972D08}"/>
          </ac:picMkLst>
        </pc:picChg>
      </pc:sldChg>
      <pc:sldChg chg="addSp delSp modSp add mod">
        <pc:chgData name="Ito Koichi" userId="7c59a57e28e385d5" providerId="LiveId" clId="{7BE1A0C3-347C-9343-AD50-5497B70087AB}" dt="2022-02-03T13:48:09.963" v="6332"/>
        <pc:sldMkLst>
          <pc:docMk/>
          <pc:sldMk cId="933917220" sldId="304"/>
        </pc:sldMkLst>
        <pc:spChg chg="mod">
          <ac:chgData name="Ito Koichi" userId="7c59a57e28e385d5" providerId="LiveId" clId="{7BE1A0C3-347C-9343-AD50-5497B70087AB}" dt="2022-02-03T13:48:09.963" v="6332"/>
          <ac:spMkLst>
            <pc:docMk/>
            <pc:sldMk cId="933917220" sldId="30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38:36.879" v="5464" actId="20577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9:32.682" v="5524" actId="20577"/>
          <ac:spMkLst>
            <pc:docMk/>
            <pc:sldMk cId="933917220" sldId="304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38:46.580" v="5466" actId="478"/>
          <ac:picMkLst>
            <pc:docMk/>
            <pc:sldMk cId="933917220" sldId="304"/>
            <ac:picMk id="6" creationId="{FCAB92E5-F791-4C4D-8E31-0420692ADB98}"/>
          </ac:picMkLst>
        </pc:picChg>
        <pc:picChg chg="add mod">
          <ac:chgData name="Ito Koichi" userId="7c59a57e28e385d5" providerId="LiveId" clId="{7BE1A0C3-347C-9343-AD50-5497B70087AB}" dt="2022-02-03T12:40:35.405" v="5542" actId="14100"/>
          <ac:picMkLst>
            <pc:docMk/>
            <pc:sldMk cId="933917220" sldId="304"/>
            <ac:picMk id="10" creationId="{3E9F318E-0C8D-F148-9E6D-E6D95E7ACFB1}"/>
          </ac:picMkLst>
        </pc:picChg>
        <pc:picChg chg="del">
          <ac:chgData name="Ito Koichi" userId="7c59a57e28e385d5" providerId="LiveId" clId="{7BE1A0C3-347C-9343-AD50-5497B70087AB}" dt="2022-02-03T12:38:47.491" v="5467" actId="478"/>
          <ac:picMkLst>
            <pc:docMk/>
            <pc:sldMk cId="933917220" sldId="304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3T12:40:39.068" v="5543" actId="1076"/>
          <ac:picMkLst>
            <pc:docMk/>
            <pc:sldMk cId="933917220" sldId="304"/>
            <ac:picMk id="13" creationId="{F11819D3-72DF-6249-93A3-D8A2A8CD0202}"/>
          </ac:picMkLst>
        </pc:picChg>
      </pc:sldChg>
      <pc:sldChg chg="addSp delSp modSp add del mod">
        <pc:chgData name="Ito Koichi" userId="7c59a57e28e385d5" providerId="LiveId" clId="{7BE1A0C3-347C-9343-AD50-5497B70087AB}" dt="2022-02-03T13:48:12.282" v="6333"/>
        <pc:sldMkLst>
          <pc:docMk/>
          <pc:sldMk cId="3395236631" sldId="305"/>
        </pc:sldMkLst>
        <pc:spChg chg="mod">
          <ac:chgData name="Ito Koichi" userId="7c59a57e28e385d5" providerId="LiveId" clId="{7BE1A0C3-347C-9343-AD50-5497B70087AB}" dt="2022-02-03T13:48:12.282" v="6333"/>
          <ac:spMkLst>
            <pc:docMk/>
            <pc:sldMk cId="3395236631" sldId="305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44:17.635" v="5860" actId="20577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52:16.664" v="6046" actId="20577"/>
          <ac:spMkLst>
            <pc:docMk/>
            <pc:sldMk cId="3395236631" sldId="305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43:11.151" v="5676" actId="1076"/>
          <ac:picMkLst>
            <pc:docMk/>
            <pc:sldMk cId="3395236631" sldId="305"/>
            <ac:picMk id="6" creationId="{AC711BFB-F336-7445-BD03-42C426F0332F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0" creationId="{3E9F318E-0C8D-F148-9E6D-E6D95E7ACFB1}"/>
          </ac:picMkLst>
        </pc:picChg>
        <pc:picChg chg="add mod">
          <ac:chgData name="Ito Koichi" userId="7c59a57e28e385d5" providerId="LiveId" clId="{7BE1A0C3-347C-9343-AD50-5497B70087AB}" dt="2022-02-03T12:52:26.562" v="6050" actId="1076"/>
          <ac:picMkLst>
            <pc:docMk/>
            <pc:sldMk cId="3395236631" sldId="305"/>
            <ac:picMk id="12" creationId="{462BA874-DE3D-BB40-9580-A7F7F16D6F0A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3" creationId="{F11819D3-72DF-6249-93A3-D8A2A8CD0202}"/>
          </ac:picMkLst>
        </pc:picChg>
        <pc:cxnChg chg="del">
          <ac:chgData name="Ito Koichi" userId="7c59a57e28e385d5" providerId="LiveId" clId="{7BE1A0C3-347C-9343-AD50-5497B70087AB}" dt="2022-02-03T12:42:39.051" v="5670" actId="478"/>
          <ac:cxnSpMkLst>
            <pc:docMk/>
            <pc:sldMk cId="3395236631" sldId="305"/>
            <ac:cxnSpMk id="8" creationId="{A58C18FD-2B03-F642-8729-838FF160FC40}"/>
          </ac:cxnSpMkLst>
        </pc:cxnChg>
      </pc:sldChg>
      <pc:sldChg chg="addSp delSp modSp new mod">
        <pc:chgData name="Ito Koichi" userId="7c59a57e28e385d5" providerId="LiveId" clId="{7BE1A0C3-347C-9343-AD50-5497B70087AB}" dt="2022-02-03T13:50:32.962" v="6458"/>
        <pc:sldMkLst>
          <pc:docMk/>
          <pc:sldMk cId="3530554265" sldId="306"/>
        </pc:sldMkLst>
        <pc:spChg chg="mod">
          <ac:chgData name="Ito Koichi" userId="7c59a57e28e385d5" providerId="LiveId" clId="{7BE1A0C3-347C-9343-AD50-5497B70087AB}" dt="2022-02-03T13:48:31.722" v="6368" actId="20577"/>
          <ac:spMkLst>
            <pc:docMk/>
            <pc:sldMk cId="3530554265" sldId="306"/>
            <ac:spMk id="2" creationId="{0E35C533-CB0A-1A46-9517-CDACEABE50DD}"/>
          </ac:spMkLst>
        </pc:spChg>
        <pc:spChg chg="del">
          <ac:chgData name="Ito Koichi" userId="7c59a57e28e385d5" providerId="LiveId" clId="{7BE1A0C3-347C-9343-AD50-5497B70087AB}" dt="2022-02-03T12:45:25.500" v="5867" actId="478"/>
          <ac:spMkLst>
            <pc:docMk/>
            <pc:sldMk cId="3530554265" sldId="306"/>
            <ac:spMk id="3" creationId="{3DEFC305-8539-B14A-B2CD-731224CDB13A}"/>
          </ac:spMkLst>
        </pc:spChg>
        <pc:spChg chg="mod">
          <ac:chgData name="Ito Koichi" userId="7c59a57e28e385d5" providerId="LiveId" clId="{7BE1A0C3-347C-9343-AD50-5497B70087AB}" dt="2022-02-03T13:50:32.962" v="6458"/>
          <ac:spMkLst>
            <pc:docMk/>
            <pc:sldMk cId="3530554265" sldId="306"/>
            <ac:spMk id="4" creationId="{E30F4E22-C3CA-6D43-A136-29B793FD3495}"/>
          </ac:spMkLst>
        </pc:spChg>
        <pc:spChg chg="add mod">
          <ac:chgData name="Ito Koichi" userId="7c59a57e28e385d5" providerId="LiveId" clId="{7BE1A0C3-347C-9343-AD50-5497B70087AB}" dt="2022-02-03T12:46:34.796" v="5902" actId="1076"/>
          <ac:spMkLst>
            <pc:docMk/>
            <pc:sldMk cId="3530554265" sldId="306"/>
            <ac:spMk id="8" creationId="{6F60B2D8-B5AB-FA4A-A396-D3121EA05CDC}"/>
          </ac:spMkLst>
        </pc:spChg>
        <pc:spChg chg="add mod">
          <ac:chgData name="Ito Koichi" userId="7c59a57e28e385d5" providerId="LiveId" clId="{7BE1A0C3-347C-9343-AD50-5497B70087AB}" dt="2022-02-03T12:48:49.714" v="5941" actId="2085"/>
          <ac:spMkLst>
            <pc:docMk/>
            <pc:sldMk cId="3530554265" sldId="306"/>
            <ac:spMk id="14" creationId="{85BA5CD1-12B3-DA40-A04A-9D8252C13EC1}"/>
          </ac:spMkLst>
        </pc:spChg>
        <pc:spChg chg="add mod">
          <ac:chgData name="Ito Koichi" userId="7c59a57e28e385d5" providerId="LiveId" clId="{7BE1A0C3-347C-9343-AD50-5497B70087AB}" dt="2022-02-03T12:48:53.962" v="5942" actId="2085"/>
          <ac:spMkLst>
            <pc:docMk/>
            <pc:sldMk cId="3530554265" sldId="306"/>
            <ac:spMk id="16" creationId="{4FC20876-FC8B-F44E-A5C5-B66ACE434FA1}"/>
          </ac:spMkLst>
        </pc:spChg>
        <pc:spChg chg="add del mod">
          <ac:chgData name="Ito Koichi" userId="7c59a57e28e385d5" providerId="LiveId" clId="{7BE1A0C3-347C-9343-AD50-5497B70087AB}" dt="2022-02-03T12:49:05.981" v="5944"/>
          <ac:spMkLst>
            <pc:docMk/>
            <pc:sldMk cId="3530554265" sldId="306"/>
            <ac:spMk id="19" creationId="{A2E6E0B4-24FC-1E4C-B46C-B266E77B7D41}"/>
          </ac:spMkLst>
        </pc:spChg>
        <pc:spChg chg="add mod">
          <ac:chgData name="Ito Koichi" userId="7c59a57e28e385d5" providerId="LiveId" clId="{7BE1A0C3-347C-9343-AD50-5497B70087AB}" dt="2022-02-03T12:49:21.361" v="5960" actId="14100"/>
          <ac:spMkLst>
            <pc:docMk/>
            <pc:sldMk cId="3530554265" sldId="306"/>
            <ac:spMk id="21" creationId="{07581260-140B-584F-8F7F-E31279A8D8CB}"/>
          </ac:spMkLst>
        </pc:spChg>
        <pc:spChg chg="add mod">
          <ac:chgData name="Ito Koichi" userId="7c59a57e28e385d5" providerId="LiveId" clId="{7BE1A0C3-347C-9343-AD50-5497B70087AB}" dt="2022-02-03T12:49:35.878" v="5972" actId="14100"/>
          <ac:spMkLst>
            <pc:docMk/>
            <pc:sldMk cId="3530554265" sldId="306"/>
            <ac:spMk id="23" creationId="{281309B0-C541-8346-9D12-9D8C6A3F0759}"/>
          </ac:spMkLst>
        </pc:spChg>
        <pc:spChg chg="add mod">
          <ac:chgData name="Ito Koichi" userId="7c59a57e28e385d5" providerId="LiveId" clId="{7BE1A0C3-347C-9343-AD50-5497B70087AB}" dt="2022-02-03T12:50:05.161" v="5991" actId="14100"/>
          <ac:spMkLst>
            <pc:docMk/>
            <pc:sldMk cId="3530554265" sldId="306"/>
            <ac:spMk id="25" creationId="{80C7AD8E-2A80-5349-B6DE-46E1412C5E71}"/>
          </ac:spMkLst>
        </pc:spChg>
        <pc:spChg chg="add mod">
          <ac:chgData name="Ito Koichi" userId="7c59a57e28e385d5" providerId="LiveId" clId="{7BE1A0C3-347C-9343-AD50-5497B70087AB}" dt="2022-02-03T12:50:58.393" v="6023" actId="1076"/>
          <ac:spMkLst>
            <pc:docMk/>
            <pc:sldMk cId="3530554265" sldId="306"/>
            <ac:spMk id="31" creationId="{1CE6DB91-3081-2C43-9737-018A45A059E1}"/>
          </ac:spMkLst>
        </pc:spChg>
        <pc:spChg chg="add del">
          <ac:chgData name="Ito Koichi" userId="7c59a57e28e385d5" providerId="LiveId" clId="{7BE1A0C3-347C-9343-AD50-5497B70087AB}" dt="2022-02-03T12:51:09.435" v="6026" actId="22"/>
          <ac:spMkLst>
            <pc:docMk/>
            <pc:sldMk cId="3530554265" sldId="306"/>
            <ac:spMk id="35" creationId="{D22A3B57-A449-8F47-A828-6BC4605AC409}"/>
          </ac:spMkLst>
        </pc:spChg>
        <pc:spChg chg="add mod">
          <ac:chgData name="Ito Koichi" userId="7c59a57e28e385d5" providerId="LiveId" clId="{7BE1A0C3-347C-9343-AD50-5497B70087AB}" dt="2022-02-03T12:51:21.892" v="6039" actId="20577"/>
          <ac:spMkLst>
            <pc:docMk/>
            <pc:sldMk cId="3530554265" sldId="306"/>
            <ac:spMk id="37" creationId="{8CB93116-33CF-9B44-A7F1-C71D4EBB3DF9}"/>
          </ac:spMkLst>
        </pc:spChg>
        <pc:picChg chg="add mod">
          <ac:chgData name="Ito Koichi" userId="7c59a57e28e385d5" providerId="LiveId" clId="{7BE1A0C3-347C-9343-AD50-5497B70087AB}" dt="2022-02-03T12:46:22.464" v="5878" actId="1076"/>
          <ac:picMkLst>
            <pc:docMk/>
            <pc:sldMk cId="3530554265" sldId="306"/>
            <ac:picMk id="7" creationId="{0F1EA6E0-2A69-3E4A-A3EF-76A596B3DFB3}"/>
          </ac:picMkLst>
        </pc:picChg>
        <pc:cxnChg chg="add mod">
          <ac:chgData name="Ito Koichi" userId="7c59a57e28e385d5" providerId="LiveId" clId="{7BE1A0C3-347C-9343-AD50-5497B70087AB}" dt="2022-02-03T12:47:08.212" v="5909" actId="14100"/>
          <ac:cxnSpMkLst>
            <pc:docMk/>
            <pc:sldMk cId="3530554265" sldId="306"/>
            <ac:cxnSpMk id="10" creationId="{33FC326C-B3A9-304C-811C-2846F4915D36}"/>
          </ac:cxnSpMkLst>
        </pc:cxnChg>
        <pc:cxnChg chg="add mod">
          <ac:chgData name="Ito Koichi" userId="7c59a57e28e385d5" providerId="LiveId" clId="{7BE1A0C3-347C-9343-AD50-5497B70087AB}" dt="2022-02-03T12:48:29.016" v="5931" actId="14100"/>
          <ac:cxnSpMkLst>
            <pc:docMk/>
            <pc:sldMk cId="3530554265" sldId="306"/>
            <ac:cxnSpMk id="15" creationId="{004A1924-8775-0E4A-BC99-6E157FE85F0F}"/>
          </ac:cxnSpMkLst>
        </pc:cxnChg>
        <pc:cxnChg chg="add del mod">
          <ac:chgData name="Ito Koichi" userId="7c59a57e28e385d5" providerId="LiveId" clId="{7BE1A0C3-347C-9343-AD50-5497B70087AB}" dt="2022-02-03T12:49:05.981" v="5944"/>
          <ac:cxnSpMkLst>
            <pc:docMk/>
            <pc:sldMk cId="3530554265" sldId="306"/>
            <ac:cxnSpMk id="18" creationId="{D19C6F30-2395-3140-816A-79C5196B214F}"/>
          </ac:cxnSpMkLst>
        </pc:cxnChg>
        <pc:cxnChg chg="add mod">
          <ac:chgData name="Ito Koichi" userId="7c59a57e28e385d5" providerId="LiveId" clId="{7BE1A0C3-347C-9343-AD50-5497B70087AB}" dt="2022-02-03T12:49:14.364" v="5946" actId="1076"/>
          <ac:cxnSpMkLst>
            <pc:docMk/>
            <pc:sldMk cId="3530554265" sldId="306"/>
            <ac:cxnSpMk id="20" creationId="{05996DDC-100D-E14D-9558-FD4E623B8DB7}"/>
          </ac:cxnSpMkLst>
        </pc:cxnChg>
        <pc:cxnChg chg="add mod">
          <ac:chgData name="Ito Koichi" userId="7c59a57e28e385d5" providerId="LiveId" clId="{7BE1A0C3-347C-9343-AD50-5497B70087AB}" dt="2022-02-03T12:49:30.684" v="5962" actId="1076"/>
          <ac:cxnSpMkLst>
            <pc:docMk/>
            <pc:sldMk cId="3530554265" sldId="306"/>
            <ac:cxnSpMk id="22" creationId="{731A4371-28D9-4147-8600-7DD0CB71D3EF}"/>
          </ac:cxnSpMkLst>
        </pc:cxnChg>
        <pc:cxnChg chg="add mod">
          <ac:chgData name="Ito Koichi" userId="7c59a57e28e385d5" providerId="LiveId" clId="{7BE1A0C3-347C-9343-AD50-5497B70087AB}" dt="2022-02-03T12:50:05.161" v="5991" actId="14100"/>
          <ac:cxnSpMkLst>
            <pc:docMk/>
            <pc:sldMk cId="3530554265" sldId="306"/>
            <ac:cxnSpMk id="24" creationId="{61529667-B5EA-9B45-BF82-74F15E914A6D}"/>
          </ac:cxnSpMkLst>
        </pc:cxnChg>
        <pc:cxnChg chg="add mod">
          <ac:chgData name="Ito Koichi" userId="7c59a57e28e385d5" providerId="LiveId" clId="{7BE1A0C3-347C-9343-AD50-5497B70087AB}" dt="2022-02-03T12:51:02.380" v="6024" actId="14100"/>
          <ac:cxnSpMkLst>
            <pc:docMk/>
            <pc:sldMk cId="3530554265" sldId="306"/>
            <ac:cxnSpMk id="30" creationId="{E0F4125A-B2B4-4344-B6C1-7F9C13DBC0AA}"/>
          </ac:cxnSpMkLst>
        </pc:cxnChg>
        <pc:cxnChg chg="add mod">
          <ac:chgData name="Ito Koichi" userId="7c59a57e28e385d5" providerId="LiveId" clId="{7BE1A0C3-347C-9343-AD50-5497B70087AB}" dt="2022-02-03T12:51:17.596" v="6029" actId="14100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modSp add mod">
        <pc:chgData name="Ito Koichi" userId="7c59a57e28e385d5" providerId="LiveId" clId="{7BE1A0C3-347C-9343-AD50-5497B70087AB}" dt="2022-02-03T13:48:25.939" v="6353" actId="20577"/>
        <pc:sldMkLst>
          <pc:docMk/>
          <pc:sldMk cId="2763826054" sldId="307"/>
        </pc:sldMkLst>
        <pc:spChg chg="mod">
          <ac:chgData name="Ito Koichi" userId="7c59a57e28e385d5" providerId="LiveId" clId="{7BE1A0C3-347C-9343-AD50-5497B70087AB}" dt="2022-02-03T13:48:25.939" v="6353" actId="20577"/>
          <ac:spMkLst>
            <pc:docMk/>
            <pc:sldMk cId="2763826054" sldId="30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3:27.002" v="6097" actId="20577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53:49.098" v="6099" actId="14826"/>
          <ac:picMkLst>
            <pc:docMk/>
            <pc:sldMk cId="2763826054" sldId="307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4T12:11:07.023" v="6605" actId="1076"/>
        <pc:sldMkLst>
          <pc:docMk/>
          <pc:sldMk cId="3233704736" sldId="308"/>
        </pc:sldMkLst>
        <pc:spChg chg="mod">
          <ac:chgData name="Ito Koichi" userId="7c59a57e28e385d5" providerId="LiveId" clId="{7BE1A0C3-347C-9343-AD50-5497B70087AB}" dt="2022-02-03T13:48:38.588" v="6387" actId="20577"/>
          <ac:spMkLst>
            <pc:docMk/>
            <pc:sldMk cId="3233704736" sldId="30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5:12.521" v="6135" actId="20577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4T12:10:43.055" v="6600" actId="1076"/>
          <ac:spMkLst>
            <pc:docMk/>
            <pc:sldMk cId="3233704736" sldId="308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55:38.639" v="6136" actId="478"/>
          <ac:picMkLst>
            <pc:docMk/>
            <pc:sldMk cId="3233704736" sldId="308"/>
            <ac:picMk id="6" creationId="{FCAB92E5-F791-4C4D-8E31-0420692ADB98}"/>
          </ac:picMkLst>
        </pc:picChg>
        <pc:picChg chg="add del mod">
          <ac:chgData name="Ito Koichi" userId="7c59a57e28e385d5" providerId="LiveId" clId="{7BE1A0C3-347C-9343-AD50-5497B70087AB}" dt="2022-02-04T12:09:08.124" v="6582" actId="478"/>
          <ac:picMkLst>
            <pc:docMk/>
            <pc:sldMk cId="3233704736" sldId="308"/>
            <ac:picMk id="10" creationId="{BB1AA7F6-12C1-7042-BE6D-12C6E8728CAB}"/>
          </ac:picMkLst>
        </pc:picChg>
        <pc:picChg chg="del">
          <ac:chgData name="Ito Koichi" userId="7c59a57e28e385d5" providerId="LiveId" clId="{7BE1A0C3-347C-9343-AD50-5497B70087AB}" dt="2022-02-03T12:57:20.855" v="6178" actId="478"/>
          <ac:picMkLst>
            <pc:docMk/>
            <pc:sldMk cId="3233704736" sldId="308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4T12:09:29.504" v="6588" actId="1076"/>
          <ac:picMkLst>
            <pc:docMk/>
            <pc:sldMk cId="3233704736" sldId="308"/>
            <ac:picMk id="13" creationId="{97475D53-FC47-604D-91FF-825733D4582A}"/>
          </ac:picMkLst>
        </pc:picChg>
        <pc:picChg chg="add mod">
          <ac:chgData name="Ito Koichi" userId="7c59a57e28e385d5" providerId="LiveId" clId="{7BE1A0C3-347C-9343-AD50-5497B70087AB}" dt="2022-02-04T12:11:07.023" v="6605" actId="1076"/>
          <ac:picMkLst>
            <pc:docMk/>
            <pc:sldMk cId="3233704736" sldId="308"/>
            <ac:picMk id="15" creationId="{862C17C1-C65A-E041-A4B5-EB34C697793F}"/>
          </ac:picMkLst>
        </pc:picChg>
        <pc:picChg chg="add mod">
          <ac:chgData name="Ito Koichi" userId="7c59a57e28e385d5" providerId="LiveId" clId="{7BE1A0C3-347C-9343-AD50-5497B70087AB}" dt="2022-02-04T12:11:03.176" v="6604" actId="1076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Ito Koichi" userId="7c59a57e28e385d5" providerId="LiveId" clId="{7BE1A0C3-347C-9343-AD50-5497B70087AB}" dt="2022-02-04T12:10:43.055" v="6600" actId="1076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addSp delSp modSp mod">
        <pc:chgData name="Ito Koichi" userId="7c59a57e28e385d5" providerId="LiveId" clId="{7BE1A0C3-347C-9343-AD50-5497B70087AB}" dt="2022-03-15T02:55:47.114" v="10340"/>
        <pc:sldMkLst>
          <pc:docMk/>
          <pc:sldMk cId="2023954067" sldId="309"/>
        </pc:sldMkLst>
        <pc:spChg chg="mod">
          <ac:chgData name="Ito Koichi" userId="7c59a57e28e385d5" providerId="LiveId" clId="{7BE1A0C3-347C-9343-AD50-5497B70087AB}" dt="2022-02-03T13:48:45.136" v="6388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4:30.979" v="6187" actId="20577"/>
          <ac:spMkLst>
            <pc:docMk/>
            <pc:sldMk cId="2023954067" sldId="309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3:44.614" v="6619" actId="1076"/>
          <ac:spMkLst>
            <pc:docMk/>
            <pc:sldMk cId="2023954067" sldId="309"/>
            <ac:spMk id="10" creationId="{C8182ED3-6F7C-E745-8DE3-556B6469DAB5}"/>
          </ac:spMkLst>
        </pc:spChg>
        <pc:spChg chg="add mod">
          <ac:chgData name="Ito Koichi" userId="7c59a57e28e385d5" providerId="LiveId" clId="{7BE1A0C3-347C-9343-AD50-5497B70087AB}" dt="2022-03-15T02:55:47.114" v="10340"/>
          <ac:spMkLst>
            <pc:docMk/>
            <pc:sldMk cId="2023954067" sldId="309"/>
            <ac:spMk id="11" creationId="{E50EADCA-CE8B-D24B-A647-60C021402BD5}"/>
          </ac:spMkLst>
        </pc:spChg>
        <pc:picChg chg="add mod">
          <ac:chgData name="Ito Koichi" userId="7c59a57e28e385d5" providerId="LiveId" clId="{7BE1A0C3-347C-9343-AD50-5497B70087AB}" dt="2022-02-04T12:15:09.361" v="6632" actId="1076"/>
          <ac:picMkLst>
            <pc:docMk/>
            <pc:sldMk cId="2023954067" sldId="309"/>
            <ac:picMk id="14" creationId="{D1F5D850-FCC4-8D4C-91A0-9DFA814FEB34}"/>
          </ac:picMkLst>
        </pc:picChg>
        <pc:picChg chg="add mod">
          <ac:chgData name="Ito Koichi" userId="7c59a57e28e385d5" providerId="LiveId" clId="{7BE1A0C3-347C-9343-AD50-5497B70087AB}" dt="2022-02-04T12:14:43.592" v="6627" actId="1076"/>
          <ac:picMkLst>
            <pc:docMk/>
            <pc:sldMk cId="2023954067" sldId="309"/>
            <ac:picMk id="16" creationId="{7274D8B4-B818-4B44-B2D7-6139C6F73BA2}"/>
          </ac:picMkLst>
        </pc:picChg>
        <pc:picChg chg="add mod">
          <ac:chgData name="Ito Koichi" userId="7c59a57e28e385d5" providerId="LiveId" clId="{7BE1A0C3-347C-9343-AD50-5497B70087AB}" dt="2022-02-04T12:15:23.109" v="6636" actId="1076"/>
          <ac:picMkLst>
            <pc:docMk/>
            <pc:sldMk cId="2023954067" sldId="309"/>
            <ac:picMk id="18" creationId="{5DC01CDA-C748-284C-8B5F-0D819D4E8FB6}"/>
          </ac:picMkLst>
        </pc:picChg>
        <pc:cxnChg chg="add del mod">
          <ac:chgData name="Ito Koichi" userId="7c59a57e28e385d5" providerId="LiveId" clId="{7BE1A0C3-347C-9343-AD50-5497B70087AB}" dt="2022-02-04T12:12:54.306" v="6613" actId="478"/>
          <ac:cxnSpMkLst>
            <pc:docMk/>
            <pc:sldMk cId="2023954067" sldId="309"/>
            <ac:cxnSpMk id="12" creationId="{55E8321F-8D59-7C40-BD47-E016E36181DD}"/>
          </ac:cxnSpMkLst>
        </pc:cxnChg>
        <pc:cxnChg chg="add mod">
          <ac:chgData name="Ito Koichi" userId="7c59a57e28e385d5" providerId="LiveId" clId="{7BE1A0C3-347C-9343-AD50-5497B70087AB}" dt="2022-02-04T12:13:06.078" v="6615" actId="14100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modSp add del mod">
        <pc:chgData name="Ito Koichi" userId="7c59a57e28e385d5" providerId="LiveId" clId="{7BE1A0C3-347C-9343-AD50-5497B70087AB}" dt="2022-02-04T12:12:16.543" v="6608" actId="2696"/>
        <pc:sldMkLst>
          <pc:docMk/>
          <pc:sldMk cId="1600302138" sldId="310"/>
        </pc:sldMkLst>
        <pc:spChg chg="mod">
          <ac:chgData name="Ito Koichi" userId="7c59a57e28e385d5" providerId="LiveId" clId="{7BE1A0C3-347C-9343-AD50-5497B70087AB}" dt="2022-02-03T13:48:47.174" v="6389"/>
          <ac:spMkLst>
            <pc:docMk/>
            <pc:sldMk cId="1600302138" sldId="31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5:47.106" v="6278" actId="20577"/>
          <ac:spMkLst>
            <pc:docMk/>
            <pc:sldMk cId="1600302138" sldId="31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45:05.489" v="6192"/>
          <ac:spMkLst>
            <pc:docMk/>
            <pc:sldMk cId="1600302138" sldId="310"/>
            <ac:spMk id="9" creationId="{11AE8FD6-28B8-E047-BDD4-CA697AEDA5F6}"/>
          </ac:spMkLst>
        </pc:spChg>
      </pc:sldChg>
      <pc:sldChg chg="modSp new mod">
        <pc:chgData name="Ito Koichi" userId="7c59a57e28e385d5" providerId="LiveId" clId="{7BE1A0C3-347C-9343-AD50-5497B70087AB}" dt="2022-02-03T13:50:34.846" v="6459"/>
        <pc:sldMkLst>
          <pc:docMk/>
          <pc:sldMk cId="3140862157" sldId="311"/>
        </pc:sldMkLst>
        <pc:spChg chg="mod">
          <ac:chgData name="Ito Koichi" userId="7c59a57e28e385d5" providerId="LiveId" clId="{7BE1A0C3-347C-9343-AD50-5497B70087AB}" dt="2022-02-03T13:50:11.507" v="6457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Ito Koichi" userId="7c59a57e28e385d5" providerId="LiveId" clId="{7BE1A0C3-347C-9343-AD50-5497B70087AB}" dt="2022-02-03T13:50:04.645" v="6456" actId="113"/>
          <ac:spMkLst>
            <pc:docMk/>
            <pc:sldMk cId="3140862157" sldId="311"/>
            <ac:spMk id="3" creationId="{AB4B53C1-FD5C-784E-9B1E-73961C0063D4}"/>
          </ac:spMkLst>
        </pc:spChg>
        <pc:spChg chg="mod">
          <ac:chgData name="Ito Koichi" userId="7c59a57e28e385d5" providerId="LiveId" clId="{7BE1A0C3-347C-9343-AD50-5497B70087AB}" dt="2022-02-03T13:50:34.846" v="6459"/>
          <ac:spMkLst>
            <pc:docMk/>
            <pc:sldMk cId="3140862157" sldId="311"/>
            <ac:spMk id="4" creationId="{D37AB2B9-F697-2C47-9A45-DE521ADE5D14}"/>
          </ac:spMkLst>
        </pc:spChg>
      </pc:sldChg>
      <pc:sldChg chg="modSp add mod">
        <pc:chgData name="Ito Koichi" userId="7c59a57e28e385d5" providerId="LiveId" clId="{7BE1A0C3-347C-9343-AD50-5497B70087AB}" dt="2022-02-03T13:50:57.044" v="6477" actId="20577"/>
        <pc:sldMkLst>
          <pc:docMk/>
          <pc:sldMk cId="386681203" sldId="312"/>
        </pc:sldMkLst>
        <pc:spChg chg="mod">
          <ac:chgData name="Ito Koichi" userId="7c59a57e28e385d5" providerId="LiveId" clId="{7BE1A0C3-347C-9343-AD50-5497B70087AB}" dt="2022-02-03T13:50:57.044" v="6477" actId="20577"/>
          <ac:spMkLst>
            <pc:docMk/>
            <pc:sldMk cId="386681203" sldId="312"/>
            <ac:spMk id="3" creationId="{AB4B53C1-FD5C-784E-9B1E-73961C0063D4}"/>
          </ac:spMkLst>
        </pc:spChg>
      </pc:sldChg>
      <pc:sldChg chg="addSp delSp modSp add mod">
        <pc:chgData name="Ito Koichi" userId="7c59a57e28e385d5" providerId="LiveId" clId="{7BE1A0C3-347C-9343-AD50-5497B70087AB}" dt="2022-02-04T12:16:05.747" v="6646" actId="20577"/>
        <pc:sldMkLst>
          <pc:docMk/>
          <pc:sldMk cId="2440085736" sldId="313"/>
        </pc:sldMkLst>
        <pc:spChg chg="mod">
          <ac:chgData name="Ito Koichi" userId="7c59a57e28e385d5" providerId="LiveId" clId="{7BE1A0C3-347C-9343-AD50-5497B70087AB}" dt="2022-02-04T12:15:51.876" v="6639" actId="1076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52:25.859" v="6512"/>
          <ac:spMkLst>
            <pc:docMk/>
            <pc:sldMk cId="2440085736" sldId="313"/>
            <ac:spMk id="9" creationId="{11AE8FD6-28B8-E047-BDD4-CA697AEDA5F6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0" creationId="{1D3AD051-9A6D-9A46-B0EB-F4E035D394D1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1" creationId="{C901C384-CF7B-AB4D-9542-ABD6597C086C}"/>
          </ac:spMkLst>
        </pc:spChg>
        <pc:spChg chg="add mod">
          <ac:chgData name="Ito Koichi" userId="7c59a57e28e385d5" providerId="LiveId" clId="{7BE1A0C3-347C-9343-AD50-5497B70087AB}" dt="2022-02-04T12:16:04.087" v="6644" actId="20577"/>
          <ac:spMkLst>
            <pc:docMk/>
            <pc:sldMk cId="2440085736" sldId="313"/>
            <ac:spMk id="12" creationId="{708DEEE8-48CD-DD4D-87E1-E1B6E2381ACA}"/>
          </ac:spMkLst>
        </pc:spChg>
        <pc:spChg chg="add mod">
          <ac:chgData name="Ito Koichi" userId="7c59a57e28e385d5" providerId="LiveId" clId="{7BE1A0C3-347C-9343-AD50-5497B70087AB}" dt="2022-02-04T12:16:05.747" v="6646" actId="20577"/>
          <ac:spMkLst>
            <pc:docMk/>
            <pc:sldMk cId="2440085736" sldId="313"/>
            <ac:spMk id="13" creationId="{B69B7CA0-10C4-8B4F-8598-EDAF43DB7386}"/>
          </ac:spMkLst>
        </pc:spChg>
      </pc:sldChg>
      <pc:sldChg chg="addSp delSp modSp add mod">
        <pc:chgData name="Ito Koichi" userId="7c59a57e28e385d5" providerId="LiveId" clId="{7BE1A0C3-347C-9343-AD50-5497B70087AB}" dt="2022-02-04T12:17:00.051" v="6657" actId="14826"/>
        <pc:sldMkLst>
          <pc:docMk/>
          <pc:sldMk cId="2561012292" sldId="314"/>
        </pc:sldMkLst>
        <pc:spChg chg="del mod">
          <ac:chgData name="Ito Koichi" userId="7c59a57e28e385d5" providerId="LiveId" clId="{7BE1A0C3-347C-9343-AD50-5497B70087AB}" dt="2022-02-04T12:16:12.551" v="6647" actId="478"/>
          <ac:spMkLst>
            <pc:docMk/>
            <pc:sldMk cId="2561012292" sldId="314"/>
            <ac:spMk id="7" creationId="{726EACEF-83EB-C249-AEE0-7E735D27208C}"/>
          </ac:spMkLst>
        </pc:spChg>
        <pc:spChg chg="del mod">
          <ac:chgData name="Ito Koichi" userId="7c59a57e28e385d5" providerId="LiveId" clId="{7BE1A0C3-347C-9343-AD50-5497B70087AB}" dt="2022-02-04T12:16:15.049" v="6648" actId="478"/>
          <ac:spMkLst>
            <pc:docMk/>
            <pc:sldMk cId="2561012292" sldId="314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6:31.398" v="6656" actId="20577"/>
          <ac:spMkLst>
            <pc:docMk/>
            <pc:sldMk cId="2561012292" sldId="314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17:00.051" v="6657" actId="14826"/>
          <ac:picMkLst>
            <pc:docMk/>
            <pc:sldMk cId="2561012292" sldId="314"/>
            <ac:picMk id="11" creationId="{DAEA8939-905E-F840-A91D-9AB4C2A2158E}"/>
          </ac:picMkLst>
        </pc:picChg>
        <pc:cxnChg chg="del">
          <ac:chgData name="Ito Koichi" userId="7c59a57e28e385d5" providerId="LiveId" clId="{7BE1A0C3-347C-9343-AD50-5497B70087AB}" dt="2022-02-04T12:16:15.830" v="6649" actId="478"/>
          <ac:cxnSpMkLst>
            <pc:docMk/>
            <pc:sldMk cId="2561012292" sldId="314"/>
            <ac:cxnSpMk id="8" creationId="{A58C18FD-2B03-F642-8729-838FF160FC40}"/>
          </ac:cxnSpMkLst>
        </pc:cxnChg>
      </pc:sldChg>
      <pc:sldChg chg="modSp add mod">
        <pc:chgData name="Ito Koichi" userId="7c59a57e28e385d5" providerId="LiveId" clId="{7BE1A0C3-347C-9343-AD50-5497B70087AB}" dt="2022-02-06T08:17:56.947" v="8909" actId="20577"/>
        <pc:sldMkLst>
          <pc:docMk/>
          <pc:sldMk cId="2819303272" sldId="315"/>
        </pc:sldMkLst>
        <pc:spChg chg="mod">
          <ac:chgData name="Ito Koichi" userId="7c59a57e28e385d5" providerId="LiveId" clId="{7BE1A0C3-347C-9343-AD50-5497B70087AB}" dt="2022-02-04T12:04:32.958" v="6578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Ito Koichi" userId="7c59a57e28e385d5" providerId="LiveId" clId="{7BE1A0C3-347C-9343-AD50-5497B70087AB}" dt="2022-02-06T08:17:38.961" v="8869" actId="20577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Ito Koichi" userId="7c59a57e28e385d5" providerId="LiveId" clId="{7BE1A0C3-347C-9343-AD50-5497B70087AB}" dt="2022-02-06T08:17:56.947" v="8909" actId="20577"/>
          <ac:spMkLst>
            <pc:docMk/>
            <pc:sldMk cId="2819303272" sldId="315"/>
            <ac:spMk id="4" creationId="{D23673E8-12C1-4920-980E-880DA27CB9D6}"/>
          </ac:spMkLst>
        </pc:spChg>
      </pc:sldChg>
      <pc:sldChg chg="modSp add mod">
        <pc:chgData name="Ito Koichi" userId="7c59a57e28e385d5" providerId="LiveId" clId="{7BE1A0C3-347C-9343-AD50-5497B70087AB}" dt="2022-02-04T12:35:23.629" v="6665" actId="20577"/>
        <pc:sldMkLst>
          <pc:docMk/>
          <pc:sldMk cId="1780522131" sldId="316"/>
        </pc:sldMkLst>
        <pc:spChg chg="mod">
          <ac:chgData name="Ito Koichi" userId="7c59a57e28e385d5" providerId="LiveId" clId="{7BE1A0C3-347C-9343-AD50-5497B70087AB}" dt="2022-02-04T12:35:23.629" v="6665" actId="20577"/>
          <ac:spMkLst>
            <pc:docMk/>
            <pc:sldMk cId="1780522131" sldId="316"/>
            <ac:spMk id="3" creationId="{B894210C-9002-4DA4-9DD8-4CF05F405920}"/>
          </ac:spMkLst>
        </pc:spChg>
      </pc:sldChg>
      <pc:sldChg chg="addSp delSp modSp add mod">
        <pc:chgData name="Ito Koichi" userId="7c59a57e28e385d5" providerId="LiveId" clId="{7BE1A0C3-347C-9343-AD50-5497B70087AB}" dt="2022-02-04T12:39:21.162" v="6757"/>
        <pc:sldMkLst>
          <pc:docMk/>
          <pc:sldMk cId="1714892408" sldId="317"/>
        </pc:sldMkLst>
        <pc:spChg chg="mod">
          <ac:chgData name="Ito Koichi" userId="7c59a57e28e385d5" providerId="LiveId" clId="{7BE1A0C3-347C-9343-AD50-5497B70087AB}" dt="2022-02-04T12:37:53.476" v="6688"/>
          <ac:spMkLst>
            <pc:docMk/>
            <pc:sldMk cId="1714892408" sldId="317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2:39:21.162" v="6757"/>
          <ac:spMkLst>
            <pc:docMk/>
            <pc:sldMk cId="1714892408" sldId="317"/>
            <ac:spMk id="7" creationId="{5A21C86D-572E-C941-BCC9-D7610E41E63A}"/>
          </ac:spMkLst>
        </pc:spChg>
        <pc:spChg chg="add mod">
          <ac:chgData name="Ito Koichi" userId="7c59a57e28e385d5" providerId="LiveId" clId="{7BE1A0C3-347C-9343-AD50-5497B70087AB}" dt="2022-02-04T12:39:16.889" v="6755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Ito Koichi" userId="7c59a57e28e385d5" providerId="LiveId" clId="{7BE1A0C3-347C-9343-AD50-5497B70087AB}" dt="2022-02-04T12:38:21.658" v="6700" actId="20577"/>
          <ac:spMkLst>
            <pc:docMk/>
            <pc:sldMk cId="1714892408" sldId="317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38:41.803" v="6706" actId="1076"/>
          <ac:picMkLst>
            <pc:docMk/>
            <pc:sldMk cId="1714892408" sldId="317"/>
            <ac:picMk id="6" creationId="{8DC8AD0A-2EE5-D241-9F54-6C8C83EDA250}"/>
          </ac:picMkLst>
        </pc:picChg>
        <pc:picChg chg="del">
          <ac:chgData name="Ito Koichi" userId="7c59a57e28e385d5" providerId="LiveId" clId="{7BE1A0C3-347C-9343-AD50-5497B70087AB}" dt="2022-02-04T12:38:29.815" v="6701" actId="478"/>
          <ac:picMkLst>
            <pc:docMk/>
            <pc:sldMk cId="1714892408" sldId="317"/>
            <ac:picMk id="11" creationId="{DAEA8939-905E-F840-A91D-9AB4C2A2158E}"/>
          </ac:picMkLst>
        </pc:picChg>
      </pc:sldChg>
      <pc:sldChg chg="addSp delSp modSp add mod">
        <pc:chgData name="Ito Koichi" userId="7c59a57e28e385d5" providerId="LiveId" clId="{7BE1A0C3-347C-9343-AD50-5497B70087AB}" dt="2022-02-04T12:41:31.658" v="6803" actId="20577"/>
        <pc:sldMkLst>
          <pc:docMk/>
          <pc:sldMk cId="710596042" sldId="318"/>
        </pc:sldMkLst>
        <pc:spChg chg="mod">
          <ac:chgData name="Ito Koichi" userId="7c59a57e28e385d5" providerId="LiveId" clId="{7BE1A0C3-347C-9343-AD50-5497B70087AB}" dt="2022-02-04T12:40:27.017" v="6761"/>
          <ac:spMkLst>
            <pc:docMk/>
            <pc:sldMk cId="710596042" sldId="31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1:31.658" v="6803" actId="20577"/>
          <ac:spMkLst>
            <pc:docMk/>
            <pc:sldMk cId="710596042" sldId="318"/>
            <ac:spMk id="9" creationId="{79F9DC4F-41D5-0F4D-881B-2B30DE10BD2A}"/>
          </ac:spMkLst>
        </pc:spChg>
        <pc:spChg chg="del">
          <ac:chgData name="Ito Koichi" userId="7c59a57e28e385d5" providerId="LiveId" clId="{7BE1A0C3-347C-9343-AD50-5497B70087AB}" dt="2022-02-04T12:40:44.634" v="6764" actId="478"/>
          <ac:spMkLst>
            <pc:docMk/>
            <pc:sldMk cId="710596042" sldId="318"/>
            <ac:spMk id="10" creationId="{84AA9DB6-51F3-E84E-879E-D59C8DF5ACE8}"/>
          </ac:spMkLst>
        </pc:spChg>
        <pc:picChg chg="add mod modCrop">
          <ac:chgData name="Ito Koichi" userId="7c59a57e28e385d5" providerId="LiveId" clId="{7BE1A0C3-347C-9343-AD50-5497B70087AB}" dt="2022-02-04T12:40:58.366" v="6768" actId="1076"/>
          <ac:picMkLst>
            <pc:docMk/>
            <pc:sldMk cId="710596042" sldId="318"/>
            <ac:picMk id="3" creationId="{59F03D15-36B5-534B-87E1-6AAA47A10A49}"/>
          </ac:picMkLst>
        </pc:picChg>
        <pc:picChg chg="del">
          <ac:chgData name="Ito Koichi" userId="7c59a57e28e385d5" providerId="LiveId" clId="{7BE1A0C3-347C-9343-AD50-5497B70087AB}" dt="2022-02-04T12:40:46.939" v="6766" actId="478"/>
          <ac:picMkLst>
            <pc:docMk/>
            <pc:sldMk cId="710596042" sldId="318"/>
            <ac:picMk id="6" creationId="{8DC8AD0A-2EE5-D241-9F54-6C8C83EDA250}"/>
          </ac:picMkLst>
        </pc:picChg>
      </pc:sldChg>
      <pc:sldChg chg="addSp delSp modSp add mod">
        <pc:chgData name="Ito Koichi" userId="7c59a57e28e385d5" providerId="LiveId" clId="{7BE1A0C3-347C-9343-AD50-5497B70087AB}" dt="2022-02-04T12:44:12.685" v="6866" actId="1076"/>
        <pc:sldMkLst>
          <pc:docMk/>
          <pc:sldMk cId="774777105" sldId="319"/>
        </pc:sldMkLst>
        <pc:spChg chg="mod">
          <ac:chgData name="Ito Koichi" userId="7c59a57e28e385d5" providerId="LiveId" clId="{7BE1A0C3-347C-9343-AD50-5497B70087AB}" dt="2022-02-04T12:42:18.685" v="6806" actId="20577"/>
          <ac:spMkLst>
            <pc:docMk/>
            <pc:sldMk cId="774777105" sldId="31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4:12.685" v="6866" actId="1076"/>
          <ac:spMkLst>
            <pc:docMk/>
            <pc:sldMk cId="774777105" sldId="319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2:43:44.009" v="6861" actId="478"/>
          <ac:picMkLst>
            <pc:docMk/>
            <pc:sldMk cId="774777105" sldId="319"/>
            <ac:picMk id="3" creationId="{59F03D15-36B5-534B-87E1-6AAA47A10A49}"/>
          </ac:picMkLst>
        </pc:picChg>
        <pc:picChg chg="add mod modCrop">
          <ac:chgData name="Ito Koichi" userId="7c59a57e28e385d5" providerId="LiveId" clId="{7BE1A0C3-347C-9343-AD50-5497B70087AB}" dt="2022-02-04T12:44:06.037" v="6865" actId="1076"/>
          <ac:picMkLst>
            <pc:docMk/>
            <pc:sldMk cId="774777105" sldId="319"/>
            <ac:picMk id="6" creationId="{81E17AF5-A4C7-FF45-BFD1-0901AA2F9107}"/>
          </ac:picMkLst>
        </pc:picChg>
      </pc:sldChg>
      <pc:sldChg chg="addSp delSp modSp add mod">
        <pc:chgData name="Ito Koichi" userId="7c59a57e28e385d5" providerId="LiveId" clId="{7BE1A0C3-347C-9343-AD50-5497B70087AB}" dt="2022-02-04T13:04:19.196" v="6936" actId="20577"/>
        <pc:sldMkLst>
          <pc:docMk/>
          <pc:sldMk cId="1800250114" sldId="320"/>
        </pc:sldMkLst>
        <pc:spChg chg="mod">
          <ac:chgData name="Ito Koichi" userId="7c59a57e28e385d5" providerId="LiveId" clId="{7BE1A0C3-347C-9343-AD50-5497B70087AB}" dt="2022-02-04T13:01:31.508" v="6880" actId="20577"/>
          <ac:spMkLst>
            <pc:docMk/>
            <pc:sldMk cId="1800250114" sldId="32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3:04:19.196" v="6936" actId="20577"/>
          <ac:spMkLst>
            <pc:docMk/>
            <pc:sldMk cId="1800250114" sldId="320"/>
            <ac:spMk id="9" creationId="{79F9DC4F-41D5-0F4D-881B-2B30DE10BD2A}"/>
          </ac:spMkLst>
        </pc:spChg>
        <pc:picChg chg="add mod">
          <ac:chgData name="Ito Koichi" userId="7c59a57e28e385d5" providerId="LiveId" clId="{7BE1A0C3-347C-9343-AD50-5497B70087AB}" dt="2022-02-04T13:03:30.200" v="6917" actId="1076"/>
          <ac:picMkLst>
            <pc:docMk/>
            <pc:sldMk cId="1800250114" sldId="320"/>
            <ac:picMk id="3" creationId="{5619E4FD-92AE-484C-8CC0-FDF9E2B04DC4}"/>
          </ac:picMkLst>
        </pc:picChg>
        <pc:picChg chg="del">
          <ac:chgData name="Ito Koichi" userId="7c59a57e28e385d5" providerId="LiveId" clId="{7BE1A0C3-347C-9343-AD50-5497B70087AB}" dt="2022-02-04T13:01:44.801" v="6881" actId="478"/>
          <ac:picMkLst>
            <pc:docMk/>
            <pc:sldMk cId="1800250114" sldId="320"/>
            <ac:picMk id="6" creationId="{81E17AF5-A4C7-FF45-BFD1-0901AA2F9107}"/>
          </ac:picMkLst>
        </pc:picChg>
        <pc:picChg chg="add mod modCrop">
          <ac:chgData name="Ito Koichi" userId="7c59a57e28e385d5" providerId="LiveId" clId="{7BE1A0C3-347C-9343-AD50-5497B70087AB}" dt="2022-02-04T13:03:54.983" v="6924" actId="1076"/>
          <ac:picMkLst>
            <pc:docMk/>
            <pc:sldMk cId="1800250114" sldId="320"/>
            <ac:picMk id="7" creationId="{5EBE91E1-ACE1-9D4B-AD07-332EF096355D}"/>
          </ac:picMkLst>
        </pc:picChg>
      </pc:sldChg>
      <pc:sldChg chg="addSp delSp modSp add mod ord">
        <pc:chgData name="Ito Koichi" userId="7c59a57e28e385d5" providerId="LiveId" clId="{7BE1A0C3-347C-9343-AD50-5497B70087AB}" dt="2022-02-04T13:07:20.832" v="6987" actId="1076"/>
        <pc:sldMkLst>
          <pc:docMk/>
          <pc:sldMk cId="3081064406" sldId="321"/>
        </pc:sldMkLst>
        <pc:spChg chg="mod">
          <ac:chgData name="Ito Koichi" userId="7c59a57e28e385d5" providerId="LiveId" clId="{7BE1A0C3-347C-9343-AD50-5497B70087AB}" dt="2022-02-04T13:05:01.549" v="6953" actId="20577"/>
          <ac:spMkLst>
            <pc:docMk/>
            <pc:sldMk cId="3081064406" sldId="32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4T13:06:27.163" v="6973" actId="478"/>
          <ac:spMkLst>
            <pc:docMk/>
            <pc:sldMk cId="3081064406" sldId="321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5:06.095" v="6954" actId="478"/>
          <ac:picMkLst>
            <pc:docMk/>
            <pc:sldMk cId="3081064406" sldId="321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6" creationId="{1BAF81B3-6E65-6C49-8869-B9CCD8B92234}"/>
          </ac:picMkLst>
        </pc:picChg>
        <pc:picChg chg="del">
          <ac:chgData name="Ito Koichi" userId="7c59a57e28e385d5" providerId="LiveId" clId="{7BE1A0C3-347C-9343-AD50-5497B70087AB}" dt="2022-02-04T13:05:06.853" v="6955" actId="478"/>
          <ac:picMkLst>
            <pc:docMk/>
            <pc:sldMk cId="3081064406" sldId="321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8" creationId="{4CB7B670-80B9-6E40-AD73-7CF307833152}"/>
          </ac:picMkLst>
        </pc:picChg>
        <pc:picChg chg="add mod modCrop">
          <ac:chgData name="Ito Koichi" userId="7c59a57e28e385d5" providerId="LiveId" clId="{7BE1A0C3-347C-9343-AD50-5497B70087AB}" dt="2022-02-04T13:07:20.832" v="6987" actId="1076"/>
          <ac:picMkLst>
            <pc:docMk/>
            <pc:sldMk cId="3081064406" sldId="321"/>
            <ac:picMk id="10" creationId="{962404BD-FCB4-8E4A-823B-8AEBF3E3310F}"/>
          </ac:picMkLst>
        </pc:picChg>
      </pc:sldChg>
      <pc:sldChg chg="addSp delSp modSp add mod">
        <pc:chgData name="Ito Koichi" userId="7c59a57e28e385d5" providerId="LiveId" clId="{7BE1A0C3-347C-9343-AD50-5497B70087AB}" dt="2022-02-04T13:09:23.128" v="7005" actId="1076"/>
        <pc:sldMkLst>
          <pc:docMk/>
          <pc:sldMk cId="417170624" sldId="322"/>
        </pc:sldMkLst>
        <pc:spChg chg="mod">
          <ac:chgData name="Ito Koichi" userId="7c59a57e28e385d5" providerId="LiveId" clId="{7BE1A0C3-347C-9343-AD50-5497B70087AB}" dt="2022-02-04T13:09:19.030" v="7004" actId="1076"/>
          <ac:spMkLst>
            <pc:docMk/>
            <pc:sldMk cId="417170624" sldId="322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9:13.078" v="7003" actId="1076"/>
          <ac:picMkLst>
            <pc:docMk/>
            <pc:sldMk cId="417170624" sldId="322"/>
            <ac:picMk id="6" creationId="{747D641F-D74B-264D-AFAB-0F868C52A051}"/>
          </ac:picMkLst>
        </pc:pic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9:23.128" v="7005" actId="1076"/>
          <ac:picMkLst>
            <pc:docMk/>
            <pc:sldMk cId="417170624" sldId="322"/>
            <ac:picMk id="8" creationId="{773FFC7F-0625-0F40-A4DD-18B7D5023FA9}"/>
          </ac:picMkLst>
        </pc:picChg>
      </pc:sldChg>
      <pc:sldChg chg="addSp delSp modSp add mod">
        <pc:chgData name="Ito Koichi" userId="7c59a57e28e385d5" providerId="LiveId" clId="{7BE1A0C3-347C-9343-AD50-5497B70087AB}" dt="2022-02-04T13:36:46.315" v="7156" actId="22"/>
        <pc:sldMkLst>
          <pc:docMk/>
          <pc:sldMk cId="924304825" sldId="323"/>
        </pc:sldMkLst>
        <pc:spChg chg="mod">
          <ac:chgData name="Ito Koichi" userId="7c59a57e28e385d5" providerId="LiveId" clId="{7BE1A0C3-347C-9343-AD50-5497B70087AB}" dt="2022-02-04T13:30:11.584" v="7082"/>
          <ac:spMkLst>
            <pc:docMk/>
            <pc:sldMk cId="924304825" sldId="32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3:30:39.862" v="7091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Ito Koichi" userId="7c59a57e28e385d5" providerId="LiveId" clId="{7BE1A0C3-347C-9343-AD50-5497B70087AB}" dt="2022-02-04T13:29:12.606" v="7075" actId="122"/>
          <ac:spMkLst>
            <pc:docMk/>
            <pc:sldMk cId="924304825" sldId="323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0" creationId="{FCDEDE1A-832B-0942-A980-9CB37265D50B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6" creationId="{AD75D561-C780-F345-9EC8-3DC4B7BAE4CB}"/>
          </ac:spMkLst>
        </pc:spChg>
        <pc:spChg chg="add del">
          <ac:chgData name="Ito Koichi" userId="7c59a57e28e385d5" providerId="LiveId" clId="{7BE1A0C3-347C-9343-AD50-5497B70087AB}" dt="2022-02-04T13:36:46.315" v="7156" actId="22"/>
          <ac:spMkLst>
            <pc:docMk/>
            <pc:sldMk cId="924304825" sldId="323"/>
            <ac:spMk id="20" creationId="{EFA19D32-CB71-874A-8A84-28EC745EFF40}"/>
          </ac:spMkLst>
        </pc:sp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3" creationId="{2936F0DF-51E7-FD48-A0CC-9FA707D1EE3B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6" creationId="{747D641F-D74B-264D-AFAB-0F868C52A051}"/>
          </ac:picMkLst>
        </pc:pic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7" creationId="{E0AA6E0D-1C16-5C4C-BFDF-54DBDF4BF8C1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8" creationId="{773FFC7F-0625-0F40-A4DD-18B7D5023FA9}"/>
          </ac:picMkLst>
        </pc:picChg>
        <pc:picChg chg="add del mod">
          <ac:chgData name="Ito Koichi" userId="7c59a57e28e385d5" providerId="LiveId" clId="{7BE1A0C3-347C-9343-AD50-5497B70087AB}" dt="2022-02-04T13:31:08.168" v="7098" actId="478"/>
          <ac:picMkLst>
            <pc:docMk/>
            <pc:sldMk cId="924304825" sldId="323"/>
            <ac:picMk id="11" creationId="{67FE8E2C-6E74-D14C-873A-6E9FF0EA2821}"/>
          </ac:picMkLst>
        </pc:picChg>
        <pc:picChg chg="add mod modCrop">
          <ac:chgData name="Ito Koichi" userId="7c59a57e28e385d5" providerId="LiveId" clId="{7BE1A0C3-347C-9343-AD50-5497B70087AB}" dt="2022-02-04T13:32:55.954" v="7124" actId="1076"/>
          <ac:picMkLst>
            <pc:docMk/>
            <pc:sldMk cId="924304825" sldId="323"/>
            <ac:picMk id="12" creationId="{45EB2325-CF26-B440-B0DB-106BB2EE2C49}"/>
          </ac:picMkLst>
        </pc:picChg>
        <pc:picChg chg="add mod modCrop">
          <ac:chgData name="Ito Koichi" userId="7c59a57e28e385d5" providerId="LiveId" clId="{7BE1A0C3-347C-9343-AD50-5497B70087AB}" dt="2022-02-04T13:32:54.110" v="7123" actId="1076"/>
          <ac:picMkLst>
            <pc:docMk/>
            <pc:sldMk cId="924304825" sldId="323"/>
            <ac:picMk id="13" creationId="{310108E3-980E-5148-8787-F0F2B03939FA}"/>
          </ac:picMkLst>
        </pc:picChg>
        <pc:picChg chg="add del mod">
          <ac:chgData name="Ito Koichi" userId="7c59a57e28e385d5" providerId="LiveId" clId="{7BE1A0C3-347C-9343-AD50-5497B70087AB}" dt="2022-02-04T13:31:06.358" v="7097" actId="478"/>
          <ac:picMkLst>
            <pc:docMk/>
            <pc:sldMk cId="924304825" sldId="323"/>
            <ac:picMk id="14" creationId="{BAC29EBA-978D-BA40-9429-678830D9D546}"/>
          </ac:picMkLst>
        </pc:picChg>
        <pc:picChg chg="add mod modCrop">
          <ac:chgData name="Ito Koichi" userId="7c59a57e28e385d5" providerId="LiveId" clId="{7BE1A0C3-347C-9343-AD50-5497B70087AB}" dt="2022-02-04T13:32:32.588" v="7121" actId="1076"/>
          <ac:picMkLst>
            <pc:docMk/>
            <pc:sldMk cId="924304825" sldId="323"/>
            <ac:picMk id="15" creationId="{06A44D3E-78D4-A44B-B0D7-664806CBF84C}"/>
          </ac:picMkLst>
        </pc:picChg>
        <pc:picChg chg="add mod modCrop">
          <ac:chgData name="Ito Koichi" userId="7c59a57e28e385d5" providerId="LiveId" clId="{7BE1A0C3-347C-9343-AD50-5497B70087AB}" dt="2022-02-04T13:35:09.827" v="7153" actId="1076"/>
          <ac:picMkLst>
            <pc:docMk/>
            <pc:sldMk cId="924304825" sldId="323"/>
            <ac:picMk id="17" creationId="{99185F84-F355-C94F-8173-715E1DD60949}"/>
          </ac:picMkLst>
        </pc:picChg>
        <pc:picChg chg="add mod modCrop">
          <ac:chgData name="Ito Koichi" userId="7c59a57e28e385d5" providerId="LiveId" clId="{7BE1A0C3-347C-9343-AD50-5497B70087AB}" dt="2022-02-04T13:35:16.070" v="7154" actId="1076"/>
          <ac:picMkLst>
            <pc:docMk/>
            <pc:sldMk cId="924304825" sldId="323"/>
            <ac:picMk id="18" creationId="{B25A230A-0A3E-2643-8B88-FF865359A560}"/>
          </ac:picMkLst>
        </pc:picChg>
      </pc:sldChg>
      <pc:sldChg chg="addSp delSp modSp add mod">
        <pc:chgData name="Ito Koichi" userId="7c59a57e28e385d5" providerId="LiveId" clId="{7BE1A0C3-347C-9343-AD50-5497B70087AB}" dt="2022-02-04T13:52:32.282" v="7225" actId="1076"/>
        <pc:sldMkLst>
          <pc:docMk/>
          <pc:sldMk cId="712796959" sldId="324"/>
        </pc:sldMkLst>
        <pc:spChg chg="mod">
          <ac:chgData name="Ito Koichi" userId="7c59a57e28e385d5" providerId="LiveId" clId="{7BE1A0C3-347C-9343-AD50-5497B70087AB}" dt="2022-02-04T13:39:28.438" v="7159" actId="20577"/>
          <ac:spMkLst>
            <pc:docMk/>
            <pc:sldMk cId="712796959" sldId="324"/>
            <ac:spMk id="2" creationId="{18C0CF12-81D5-0D4F-A24F-3BAC5546F0A4}"/>
          </ac:spMkLst>
        </pc:spChg>
        <pc:spChg chg="add mod">
          <ac:chgData name="Ito Koichi" userId="7c59a57e28e385d5" providerId="LiveId" clId="{7BE1A0C3-347C-9343-AD50-5497B70087AB}" dt="2022-02-04T13:52:04.426" v="7216" actId="404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Ito Koichi" userId="7c59a57e28e385d5" providerId="LiveId" clId="{7BE1A0C3-347C-9343-AD50-5497B70087AB}" dt="2022-02-04T13:50:59.012" v="7209" actId="404"/>
          <ac:spMkLst>
            <pc:docMk/>
            <pc:sldMk cId="712796959" sldId="324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49:43.015" v="7188" actId="478"/>
          <ac:picMkLst>
            <pc:docMk/>
            <pc:sldMk cId="712796959" sldId="324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50:21.370" v="7197" actId="1076"/>
          <ac:picMkLst>
            <pc:docMk/>
            <pc:sldMk cId="712796959" sldId="324"/>
            <ac:picMk id="6" creationId="{89E0D140-0498-4646-A6CA-CF7ED178201A}"/>
          </ac:picMkLst>
        </pc:picChg>
        <pc:picChg chg="del">
          <ac:chgData name="Ito Koichi" userId="7c59a57e28e385d5" providerId="LiveId" clId="{7BE1A0C3-347C-9343-AD50-5497B70087AB}" dt="2022-02-04T13:49:44.023" v="7189" actId="478"/>
          <ac:picMkLst>
            <pc:docMk/>
            <pc:sldMk cId="712796959" sldId="324"/>
            <ac:picMk id="7" creationId="{5EBE91E1-ACE1-9D4B-AD07-332EF096355D}"/>
          </ac:picMkLst>
        </pc:picChg>
        <pc:picChg chg="add del mod">
          <ac:chgData name="Ito Koichi" userId="7c59a57e28e385d5" providerId="LiveId" clId="{7BE1A0C3-347C-9343-AD50-5497B70087AB}" dt="2022-02-04T13:52:13.237" v="7218" actId="931"/>
          <ac:picMkLst>
            <pc:docMk/>
            <pc:sldMk cId="712796959" sldId="324"/>
            <ac:picMk id="11" creationId="{192C0379-3E4A-514D-A51E-40889F0672B2}"/>
          </ac:picMkLst>
        </pc:picChg>
        <pc:picChg chg="add del mod">
          <ac:chgData name="Ito Koichi" userId="7c59a57e28e385d5" providerId="LiveId" clId="{7BE1A0C3-347C-9343-AD50-5497B70087AB}" dt="2022-02-04T13:52:19.433" v="7220" actId="931"/>
          <ac:picMkLst>
            <pc:docMk/>
            <pc:sldMk cId="712796959" sldId="324"/>
            <ac:picMk id="13" creationId="{C4BB8B64-770E-394E-8939-00E7F8051862}"/>
          </ac:picMkLst>
        </pc:picChg>
        <pc:picChg chg="add mod">
          <ac:chgData name="Ito Koichi" userId="7c59a57e28e385d5" providerId="LiveId" clId="{7BE1A0C3-347C-9343-AD50-5497B70087AB}" dt="2022-02-04T13:52:32.282" v="7225" actId="1076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 add mod">
        <pc:chgData name="Ito Koichi" userId="7c59a57e28e385d5" providerId="LiveId" clId="{7BE1A0C3-347C-9343-AD50-5497B70087AB}" dt="2022-02-04T13:58:44.943" v="7232" actId="20577"/>
        <pc:sldMkLst>
          <pc:docMk/>
          <pc:sldMk cId="2962039528" sldId="325"/>
        </pc:sldMkLst>
        <pc:spChg chg="mod">
          <ac:chgData name="Ito Koichi" userId="7c59a57e28e385d5" providerId="LiveId" clId="{7BE1A0C3-347C-9343-AD50-5497B70087AB}" dt="2022-02-04T13:58:44.943" v="7232" actId="20577"/>
          <ac:spMkLst>
            <pc:docMk/>
            <pc:sldMk cId="2962039528" sldId="325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05.883" v="7238" actId="20577"/>
        <pc:sldMkLst>
          <pc:docMk/>
          <pc:sldMk cId="2382116385" sldId="326"/>
        </pc:sldMkLst>
        <pc:spChg chg="mod">
          <ac:chgData name="Ito Koichi" userId="7c59a57e28e385d5" providerId="LiveId" clId="{7BE1A0C3-347C-9343-AD50-5497B70087AB}" dt="2022-02-04T13:59:05.883" v="7238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37.754" v="7244" actId="20577"/>
        <pc:sldMkLst>
          <pc:docMk/>
          <pc:sldMk cId="4172093184" sldId="327"/>
        </pc:sldMkLst>
        <pc:spChg chg="mod">
          <ac:chgData name="Ito Koichi" userId="7c59a57e28e385d5" providerId="LiveId" clId="{7BE1A0C3-347C-9343-AD50-5497B70087AB}" dt="2022-02-04T13:59:37.754" v="7244" actId="20577"/>
          <ac:spMkLst>
            <pc:docMk/>
            <pc:sldMk cId="4172093184" sldId="327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7T07:47:43.821" v="9899" actId="14100"/>
        <pc:sldMkLst>
          <pc:docMk/>
          <pc:sldMk cId="1401364146" sldId="328"/>
        </pc:sldMkLst>
        <pc:spChg chg="mod">
          <ac:chgData name="Ito Koichi" userId="7c59a57e28e385d5" providerId="LiveId" clId="{7BE1A0C3-347C-9343-AD50-5497B70087AB}" dt="2022-02-05T06:25:10.540" v="7290" actId="20577"/>
          <ac:spMkLst>
            <pc:docMk/>
            <pc:sldMk cId="1401364146" sldId="328"/>
            <ac:spMk id="2" creationId="{7A4247B2-5249-5248-B8AE-A7B09D6710DC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7" creationId="{3E91D370-DDD2-2B47-ADCD-EAD8D6F29C45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8" creationId="{150B18A2-40EA-4543-91EF-FB5D1EA694B8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9" creationId="{EF46FD93-006D-1841-9BF2-A76B949BB2B1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0" creationId="{A5D1A0BB-C2B2-B64F-8DA3-211FB43442A7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1" creationId="{C2C320BC-0EED-FE4E-A091-F96420DA7C32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5" creationId="{BF3120CE-B4A6-3746-9B1D-C853DA56516F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7" creationId="{F3194BD2-5D87-F04B-996C-9F0DE201592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8" creationId="{4D33DC17-F738-214B-A7FC-F91514987580}"/>
          </ac:spMkLst>
        </pc:spChg>
        <pc:spChg chg="add mod">
          <ac:chgData name="Ito Koichi" userId="7c59a57e28e385d5" providerId="LiveId" clId="{7BE1A0C3-347C-9343-AD50-5497B70087AB}" dt="2022-02-07T07:47:43.821" v="9899" actId="14100"/>
          <ac:spMkLst>
            <pc:docMk/>
            <pc:sldMk cId="1401364146" sldId="328"/>
            <ac:spMk id="19" creationId="{14952187-59E6-E945-9BEC-8BFBBAF3E769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2" creationId="{5027EA46-7AE4-C14F-BA6D-CBC317D44A95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4" creationId="{32B08C12-9484-634F-A48E-853C3A29880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5" creationId="{D716FBEA-F445-B243-BABA-7C4FE5C57784}"/>
          </ac:spMkLst>
        </pc:spChg>
        <pc:spChg chg="add del mod">
          <ac:chgData name="Ito Koichi" userId="7c59a57e28e385d5" providerId="LiveId" clId="{7BE1A0C3-347C-9343-AD50-5497B70087AB}" dt="2022-02-05T06:37:11.114" v="7701" actId="14100"/>
          <ac:spMkLst>
            <pc:docMk/>
            <pc:sldMk cId="1401364146" sldId="328"/>
            <ac:spMk id="28" creationId="{E817E83C-4F34-3A49-9DC2-570C3E944898}"/>
          </ac:spMkLst>
        </pc:spChg>
        <pc:spChg chg="add del mod">
          <ac:chgData name="Ito Koichi" userId="7c59a57e28e385d5" providerId="LiveId" clId="{7BE1A0C3-347C-9343-AD50-5497B70087AB}" dt="2022-02-05T06:32:19.983" v="7500"/>
          <ac:spMkLst>
            <pc:docMk/>
            <pc:sldMk cId="1401364146" sldId="328"/>
            <ac:spMk id="29" creationId="{0D0DC4BA-5F8D-9D4D-A4EC-93DD7C7E73AA}"/>
          </ac:spMkLst>
        </pc:spChg>
        <pc:spChg chg="add mod">
          <ac:chgData name="Ito Koichi" userId="7c59a57e28e385d5" providerId="LiveId" clId="{7BE1A0C3-347C-9343-AD50-5497B70087AB}" dt="2022-02-05T06:37:06.201" v="7700" actId="14100"/>
          <ac:spMkLst>
            <pc:docMk/>
            <pc:sldMk cId="1401364146" sldId="328"/>
            <ac:spMk id="31" creationId="{6AE1BDE3-15E8-3042-939B-D4C58A364897}"/>
          </ac:spMkLst>
        </pc:spChg>
        <pc:spChg chg="add mod">
          <ac:chgData name="Ito Koichi" userId="7c59a57e28e385d5" providerId="LiveId" clId="{7BE1A0C3-347C-9343-AD50-5497B70087AB}" dt="2022-02-05T06:37:00.025" v="7699" actId="27636"/>
          <ac:spMkLst>
            <pc:docMk/>
            <pc:sldMk cId="1401364146" sldId="328"/>
            <ac:spMk id="35" creationId="{81BF859F-9C13-EE44-8FB4-B138E74DFABD}"/>
          </ac:spMkLst>
        </pc:spChg>
        <pc:spChg chg="add mod">
          <ac:chgData name="Ito Koichi" userId="7c59a57e28e385d5" providerId="LiveId" clId="{7BE1A0C3-347C-9343-AD50-5497B70087AB}" dt="2022-02-05T06:36:51.890" v="7697" actId="14100"/>
          <ac:spMkLst>
            <pc:docMk/>
            <pc:sldMk cId="1401364146" sldId="328"/>
            <ac:spMk id="36" creationId="{316AC704-D677-BB4A-9E71-A7B4800A5A5E}"/>
          </ac:spMkLst>
        </pc:spChg>
        <pc:grpChg chg="add mod">
          <ac:chgData name="Ito Koichi" userId="7c59a57e28e385d5" providerId="LiveId" clId="{7BE1A0C3-347C-9343-AD50-5497B70087AB}" dt="2022-02-05T06:33:59.916" v="7564" actId="1076"/>
          <ac:grpSpMkLst>
            <pc:docMk/>
            <pc:sldMk cId="1401364146" sldId="328"/>
            <ac:grpSpMk id="32" creationId="{41F7C7E5-6010-2743-9598-1E0F3F718F88}"/>
          </ac:grpSpMkLst>
        </pc:grpChg>
        <pc:picChg chg="add mod">
          <ac:chgData name="Ito Koichi" userId="7c59a57e28e385d5" providerId="LiveId" clId="{7BE1A0C3-347C-9343-AD50-5497B70087AB}" dt="2022-02-05T06:33:45.296" v="7563" actId="164"/>
          <ac:picMkLst>
            <pc:docMk/>
            <pc:sldMk cId="1401364146" sldId="328"/>
            <ac:picMk id="6" creationId="{64F0CCB2-F115-B941-B754-6A1D40BEF306}"/>
          </ac:picMkLst>
        </pc:picChg>
        <pc:picChg chg="add del mod">
          <ac:chgData name="Ito Koichi" userId="7c59a57e28e385d5" providerId="LiveId" clId="{7BE1A0C3-347C-9343-AD50-5497B70087AB}" dt="2022-02-05T06:26:02.841" v="7303"/>
          <ac:picMkLst>
            <pc:docMk/>
            <pc:sldMk cId="1401364146" sldId="328"/>
            <ac:picMk id="13" creationId="{9AF8BFDA-B6E7-494E-AD5C-7EDA4D08BEA9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1" creationId="{7B1A0B26-22AE-0B48-9D0D-0A0AC1E263D8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3" creationId="{7C4737B2-BEFF-1F41-A242-BD62ABD8FEB2}"/>
          </ac:picMkLst>
        </pc:picChg>
        <pc:cxnChg chg="del">
          <ac:chgData name="Ito Koichi" userId="7c59a57e28e385d5" providerId="LiveId" clId="{7BE1A0C3-347C-9343-AD50-5497B70087AB}" dt="2022-02-05T06:24:29.942" v="7246" actId="478"/>
          <ac:cxnSpMkLst>
            <pc:docMk/>
            <pc:sldMk cId="1401364146" sldId="328"/>
            <ac:cxnSpMk id="14" creationId="{7ADCFF1D-EEC6-3640-ADA4-D510578A7A7D}"/>
          </ac:cxnSpMkLst>
        </pc:cxnChg>
        <pc:cxnChg chg="add del mod">
          <ac:chgData name="Ito Koichi" userId="7c59a57e28e385d5" providerId="LiveId" clId="{7BE1A0C3-347C-9343-AD50-5497B70087AB}" dt="2022-02-05T06:34:32.126" v="7573" actId="478"/>
          <ac:cxnSpMkLst>
            <pc:docMk/>
            <pc:sldMk cId="1401364146" sldId="328"/>
            <ac:cxnSpMk id="20" creationId="{B1DBBECD-035E-8C44-AF22-A69E441DD061}"/>
          </ac:cxnSpMkLst>
        </pc:cxnChg>
        <pc:cxnChg chg="add del mod">
          <ac:chgData name="Ito Koichi" userId="7c59a57e28e385d5" providerId="LiveId" clId="{7BE1A0C3-347C-9343-AD50-5497B70087AB}" dt="2022-02-05T06:34:48.775" v="7578" actId="478"/>
          <ac:cxnSpMkLst>
            <pc:docMk/>
            <pc:sldMk cId="1401364146" sldId="328"/>
            <ac:cxnSpMk id="30" creationId="{CD390DD8-DA1F-BD44-8342-CF1F90CB9B1C}"/>
          </ac:cxnSpMkLst>
        </pc:cxnChg>
      </pc:sldChg>
      <pc:sldChg chg="addSp delSp modSp add mod">
        <pc:chgData name="Ito Koichi" userId="7c59a57e28e385d5" providerId="LiveId" clId="{7BE1A0C3-347C-9343-AD50-5497B70087AB}" dt="2022-02-05T06:58:54.023" v="7889" actId="20577"/>
        <pc:sldMkLst>
          <pc:docMk/>
          <pc:sldMk cId="3384531833" sldId="329"/>
        </pc:sldMkLst>
        <pc:spChg chg="mod">
          <ac:chgData name="Ito Koichi" userId="7c59a57e28e385d5" providerId="LiveId" clId="{7BE1A0C3-347C-9343-AD50-5497B70087AB}" dt="2022-02-05T06:58:54.023" v="7889" actId="20577"/>
          <ac:spMkLst>
            <pc:docMk/>
            <pc:sldMk cId="3384531833" sldId="329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8" creationId="{C5189421-8C24-6A40-AF87-0D8E32AE9A7C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5T06:51:27.587" v="7789" actId="20577"/>
          <ac:spMkLst>
            <pc:docMk/>
            <pc:sldMk cId="3384531833" sldId="329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6:56:39.843" v="7831" actId="20577"/>
          <ac:spMkLst>
            <pc:docMk/>
            <pc:sldMk cId="3384531833" sldId="329"/>
            <ac:spMk id="12" creationId="{AFDCD7CD-AA8B-E940-B4CA-9EDDC1C87FF4}"/>
          </ac:spMkLst>
        </pc:spChg>
        <pc:spChg chg="add mod">
          <ac:chgData name="Ito Koichi" userId="7c59a57e28e385d5" providerId="LiveId" clId="{7BE1A0C3-347C-9343-AD50-5497B70087AB}" dt="2022-02-05T06:57:42.802" v="7875" actId="20577"/>
          <ac:spMkLst>
            <pc:docMk/>
            <pc:sldMk cId="3384531833" sldId="329"/>
            <ac:spMk id="17" creationId="{6AF49FB6-DC58-404B-9ADB-CC1C50F617EF}"/>
          </ac:spMkLst>
        </pc:spChg>
        <pc:spChg chg="add del mod">
          <ac:chgData name="Ito Koichi" userId="7c59a57e28e385d5" providerId="LiveId" clId="{7BE1A0C3-347C-9343-AD50-5497B70087AB}" dt="2022-02-05T06:58:38.883" v="7877"/>
          <ac:spMkLst>
            <pc:docMk/>
            <pc:sldMk cId="3384531833" sldId="329"/>
            <ac:spMk id="18" creationId="{38AAC475-A72A-DB4C-BC9B-573EE9C0110A}"/>
          </ac:spMkLst>
        </pc:spChg>
        <pc:picChg chg="add mod modCrop">
          <ac:chgData name="Ito Koichi" userId="7c59a57e28e385d5" providerId="LiveId" clId="{7BE1A0C3-347C-9343-AD50-5497B70087AB}" dt="2022-02-05T06:54:58.187" v="7810" actId="1076"/>
          <ac:picMkLst>
            <pc:docMk/>
            <pc:sldMk cId="3384531833" sldId="329"/>
            <ac:picMk id="3" creationId="{26C76BB2-4053-3E43-84A7-B9B2FE1D3D4C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6" creationId="{89E0D140-0498-4646-A6CA-CF7ED178201A}"/>
          </ac:picMkLst>
        </pc:picChg>
        <pc:picChg chg="add mod modCrop">
          <ac:chgData name="Ito Koichi" userId="7c59a57e28e385d5" providerId="LiveId" clId="{7BE1A0C3-347C-9343-AD50-5497B70087AB}" dt="2022-02-05T06:50:54.134" v="7736" actId="14100"/>
          <ac:picMkLst>
            <pc:docMk/>
            <pc:sldMk cId="3384531833" sldId="329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6:55:00.138" v="7811" actId="1076"/>
          <ac:picMkLst>
            <pc:docMk/>
            <pc:sldMk cId="3384531833" sldId="329"/>
            <ac:picMk id="10" creationId="{276E71EE-7D10-154A-91B2-641F64090152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15" creationId="{921FC29F-9527-6043-979D-0B1987DFEDDF}"/>
          </ac:picMkLst>
        </pc:picChg>
        <pc:cxnChg chg="add mod">
          <ac:chgData name="Ito Koichi" userId="7c59a57e28e385d5" providerId="LiveId" clId="{7BE1A0C3-347C-9343-AD50-5497B70087AB}" dt="2022-02-05T06:57:03.679" v="7833" actId="1076"/>
          <ac:cxnSpMkLst>
            <pc:docMk/>
            <pc:sldMk cId="3384531833" sldId="329"/>
            <ac:cxnSpMk id="14" creationId="{26BCC9D3-61C6-2A4D-943B-2592FBAD706F}"/>
          </ac:cxnSpMkLst>
        </pc:cxnChg>
        <pc:cxnChg chg="add del mod">
          <ac:chgData name="Ito Koichi" userId="7c59a57e28e385d5" providerId="LiveId" clId="{7BE1A0C3-347C-9343-AD50-5497B70087AB}" dt="2022-02-05T06:57:07.623" v="7835"/>
          <ac:cxnSpMkLst>
            <pc:docMk/>
            <pc:sldMk cId="3384531833" sldId="329"/>
            <ac:cxnSpMk id="16" creationId="{C240FA81-773B-994C-80C6-61DA20A42081}"/>
          </ac:cxnSpMkLst>
        </pc:cxnChg>
      </pc:sldChg>
      <pc:sldChg chg="addSp delSp modSp add mod">
        <pc:chgData name="Ito Koichi" userId="7c59a57e28e385d5" providerId="LiveId" clId="{7BE1A0C3-347C-9343-AD50-5497B70087AB}" dt="2022-02-05T07:34:24.042" v="8100" actId="767"/>
        <pc:sldMkLst>
          <pc:docMk/>
          <pc:sldMk cId="586762857" sldId="330"/>
        </pc:sldMkLst>
        <pc:spChg chg="mod">
          <ac:chgData name="Ito Koichi" userId="7c59a57e28e385d5" providerId="LiveId" clId="{7BE1A0C3-347C-9343-AD50-5497B70087AB}" dt="2022-02-05T07:17:18.460" v="8067" actId="20577"/>
          <ac:spMkLst>
            <pc:docMk/>
            <pc:sldMk cId="586762857" sldId="33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5T07:34:24.042" v="8100" actId="767"/>
          <ac:spMkLst>
            <pc:docMk/>
            <pc:sldMk cId="586762857" sldId="330"/>
            <ac:spMk id="9" creationId="{8BA55F2F-8EFA-1E44-887A-A04E1661786B}"/>
          </ac:spMkLst>
        </pc:spChg>
        <pc:spChg chg="mod">
          <ac:chgData name="Ito Koichi" userId="7c59a57e28e385d5" providerId="LiveId" clId="{7BE1A0C3-347C-9343-AD50-5497B70087AB}" dt="2022-02-05T07:08:31.954" v="7964" actId="20577"/>
          <ac:spMkLst>
            <pc:docMk/>
            <pc:sldMk cId="586762857" sldId="330"/>
            <ac:spMk id="11" creationId="{E57CB43B-5437-704E-8063-20453649BCCF}"/>
          </ac:spMkLst>
        </pc:spChg>
        <pc:spChg chg="del mod">
          <ac:chgData name="Ito Koichi" userId="7c59a57e28e385d5" providerId="LiveId" clId="{7BE1A0C3-347C-9343-AD50-5497B70087AB}" dt="2022-02-05T07:06:13.346" v="7908" actId="478"/>
          <ac:spMkLst>
            <pc:docMk/>
            <pc:sldMk cId="586762857" sldId="330"/>
            <ac:spMk id="12" creationId="{AFDCD7CD-AA8B-E940-B4CA-9EDDC1C87FF4}"/>
          </ac:spMkLst>
        </pc:spChg>
        <pc:spChg chg="mod">
          <ac:chgData name="Ito Koichi" userId="7c59a57e28e385d5" providerId="LiveId" clId="{7BE1A0C3-347C-9343-AD50-5497B70087AB}" dt="2022-02-05T07:11:38.481" v="8066" actId="20577"/>
          <ac:spMkLst>
            <pc:docMk/>
            <pc:sldMk cId="586762857" sldId="330"/>
            <ac:spMk id="17" creationId="{6AF49FB6-DC58-404B-9ADB-CC1C50F617EF}"/>
          </ac:spMkLst>
        </pc:sp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3" creationId="{26C76BB2-4053-3E43-84A7-B9B2FE1D3D4C}"/>
          </ac:picMkLst>
        </pc:picChg>
        <pc:picChg chg="add mod modCrop">
          <ac:chgData name="Ito Koichi" userId="7c59a57e28e385d5" providerId="LiveId" clId="{7BE1A0C3-347C-9343-AD50-5497B70087AB}" dt="2022-02-05T07:08:08.958" v="7925" actId="1076"/>
          <ac:picMkLst>
            <pc:docMk/>
            <pc:sldMk cId="586762857" sldId="330"/>
            <ac:picMk id="6" creationId="{1E062A9C-47C1-CD4E-8B8B-04897632BC99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7:09:02.599" v="7970" actId="14100"/>
          <ac:picMkLst>
            <pc:docMk/>
            <pc:sldMk cId="586762857" sldId="330"/>
            <ac:picMk id="8" creationId="{DEF9431B-A9F7-0646-9CBD-F5B61E08F56C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10" creationId="{276E71EE-7D10-154A-91B2-641F64090152}"/>
          </ac:picMkLst>
        </pc:picChg>
        <pc:cxnChg chg="del mod">
          <ac:chgData name="Ito Koichi" userId="7c59a57e28e385d5" providerId="LiveId" clId="{7BE1A0C3-347C-9343-AD50-5497B70087AB}" dt="2022-02-05T07:09:12.887" v="7971" actId="478"/>
          <ac:cxnSpMkLst>
            <pc:docMk/>
            <pc:sldMk cId="586762857" sldId="330"/>
            <ac:cxnSpMk id="14" creationId="{26BCC9D3-61C6-2A4D-943B-2592FBAD706F}"/>
          </ac:cxnSpMkLst>
        </pc:cxnChg>
        <pc:cxnChg chg="add mod">
          <ac:chgData name="Ito Koichi" userId="7c59a57e28e385d5" providerId="LiveId" clId="{7BE1A0C3-347C-9343-AD50-5497B70087AB}" dt="2022-02-05T07:09:54.938" v="7974" actId="1076"/>
          <ac:cxnSpMkLst>
            <pc:docMk/>
            <pc:sldMk cId="586762857" sldId="330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5T07:17:34.639" v="8069"/>
          <ac:cxnSpMkLst>
            <pc:docMk/>
            <pc:sldMk cId="586762857" sldId="330"/>
            <ac:cxnSpMk id="16" creationId="{92621791-BE03-1649-A336-5162711EEBF7}"/>
          </ac:cxnSpMkLst>
        </pc:cxnChg>
      </pc:sldChg>
      <pc:sldChg chg="addSp delSp modSp add mod">
        <pc:chgData name="Ito Koichi" userId="7c59a57e28e385d5" providerId="LiveId" clId="{7BE1A0C3-347C-9343-AD50-5497B70087AB}" dt="2022-02-06T06:03:40.035" v="8407" actId="20577"/>
        <pc:sldMkLst>
          <pc:docMk/>
          <pc:sldMk cId="3175117747" sldId="331"/>
        </pc:sldMkLst>
        <pc:spChg chg="mod">
          <ac:chgData name="Ito Koichi" userId="7c59a57e28e385d5" providerId="LiveId" clId="{7BE1A0C3-347C-9343-AD50-5497B70087AB}" dt="2022-02-05T07:41:58.010" v="8211" actId="20577"/>
          <ac:spMkLst>
            <pc:docMk/>
            <pc:sldMk cId="3175117747" sldId="33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7:35:07.929" v="8131" actId="20577"/>
          <ac:spMkLst>
            <pc:docMk/>
            <pc:sldMk cId="3175117747" sldId="331"/>
            <ac:spMk id="12" creationId="{6C4D14E5-AC69-324F-BEAB-5729B4821F2E}"/>
          </ac:spMkLst>
        </pc:spChg>
        <pc:spChg chg="add mod">
          <ac:chgData name="Ito Koichi" userId="7c59a57e28e385d5" providerId="LiveId" clId="{7BE1A0C3-347C-9343-AD50-5497B70087AB}" dt="2022-02-06T06:03:40.035" v="8407" actId="20577"/>
          <ac:spMkLst>
            <pc:docMk/>
            <pc:sldMk cId="3175117747" sldId="331"/>
            <ac:spMk id="13" creationId="{31A098C0-85D4-AA46-93D8-E024E5A7E0AD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7" creationId="{6AF49FB6-DC58-404B-9ADB-CC1C50F617EF}"/>
          </ac:spMkLst>
        </pc:spChg>
        <pc:picChg chg="add mod modCrop">
          <ac:chgData name="Ito Koichi" userId="7c59a57e28e385d5" providerId="LiveId" clId="{7BE1A0C3-347C-9343-AD50-5497B70087AB}" dt="2022-02-05T07:35:48.830" v="8139" actId="14100"/>
          <ac:picMkLst>
            <pc:docMk/>
            <pc:sldMk cId="3175117747" sldId="331"/>
            <ac:picMk id="3" creationId="{D5122F1A-09D4-4E40-96BC-858BF078E4A7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6" creationId="{1E062A9C-47C1-CD4E-8B8B-04897632BC99}"/>
          </ac:picMkLst>
        </pc:picChg>
        <pc:picChg chg="add mod modCrop">
          <ac:chgData name="Ito Koichi" userId="7c59a57e28e385d5" providerId="LiveId" clId="{7BE1A0C3-347C-9343-AD50-5497B70087AB}" dt="2022-02-05T07:36:05.564" v="8141" actId="1076"/>
          <ac:picMkLst>
            <pc:docMk/>
            <pc:sldMk cId="3175117747" sldId="331"/>
            <ac:picMk id="7" creationId="{E35A6B5D-D3B7-3946-BDA0-6F566869D954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8" creationId="{DEF9431B-A9F7-0646-9CBD-F5B61E08F56C}"/>
          </ac:picMkLst>
        </pc:picChg>
        <pc:picChg chg="add mod modCrop">
          <ac:chgData name="Ito Koichi" userId="7c59a57e28e385d5" providerId="LiveId" clId="{7BE1A0C3-347C-9343-AD50-5497B70087AB}" dt="2022-02-05T07:40:09.217" v="8201" actId="1076"/>
          <ac:picMkLst>
            <pc:docMk/>
            <pc:sldMk cId="3175117747" sldId="331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5:36:39.392" v="8313" actId="22"/>
        <pc:sldMkLst>
          <pc:docMk/>
          <pc:sldMk cId="1340371423" sldId="332"/>
        </pc:sldMkLst>
        <pc:spChg chg="mod">
          <ac:chgData name="Ito Koichi" userId="7c59a57e28e385d5" providerId="LiveId" clId="{7BE1A0C3-347C-9343-AD50-5497B70087AB}" dt="2022-02-05T07:42:17.403" v="8214"/>
          <ac:spMkLst>
            <pc:docMk/>
            <pc:sldMk cId="1340371423" sldId="33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5:25:28.014" v="8283" actId="20577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5:35:37.902" v="8311" actId="20577"/>
          <ac:spMkLst>
            <pc:docMk/>
            <pc:sldMk cId="1340371423" sldId="332"/>
            <ac:spMk id="13" creationId="{31A098C0-85D4-AA46-93D8-E024E5A7E0AD}"/>
          </ac:spMkLst>
        </pc:spChg>
        <pc:spChg chg="add del">
          <ac:chgData name="Ito Koichi" userId="7c59a57e28e385d5" providerId="LiveId" clId="{7BE1A0C3-347C-9343-AD50-5497B70087AB}" dt="2022-02-06T05:36:39.392" v="8313" actId="22"/>
          <ac:spMkLst>
            <pc:docMk/>
            <pc:sldMk cId="1340371423" sldId="332"/>
            <ac:spMk id="14" creationId="{DFD0BD3C-C095-C744-9211-7B994CE4B26C}"/>
          </ac:spMkLst>
        </pc:sp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3" creationId="{D5122F1A-09D4-4E40-96BC-858BF078E4A7}"/>
          </ac:picMkLst>
        </pc:picChg>
        <pc:picChg chg="add mod modCrop">
          <ac:chgData name="Ito Koichi" userId="7c59a57e28e385d5" providerId="LiveId" clId="{7BE1A0C3-347C-9343-AD50-5497B70087AB}" dt="2022-02-06T05:24:52.603" v="8234" actId="1076"/>
          <ac:picMkLst>
            <pc:docMk/>
            <pc:sldMk cId="1340371423" sldId="332"/>
            <ac:picMk id="6" creationId="{2C56F2ED-F9D9-6242-BD09-738E3D8E4280}"/>
          </ac:picMkLst>
        </pc:pic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7" creationId="{E35A6B5D-D3B7-3946-BDA0-6F566869D954}"/>
          </ac:picMkLst>
        </pc:picChg>
        <pc:picChg chg="add mod modCrop">
          <ac:chgData name="Ito Koichi" userId="7c59a57e28e385d5" providerId="LiveId" clId="{7BE1A0C3-347C-9343-AD50-5497B70087AB}" dt="2022-02-06T05:24:48.447" v="8233" actId="1076"/>
          <ac:picMkLst>
            <pc:docMk/>
            <pc:sldMk cId="1340371423" sldId="332"/>
            <ac:picMk id="8" creationId="{892F2077-7536-9A4E-A549-3775903F2935}"/>
          </ac:picMkLst>
        </pc:picChg>
        <pc:picChg chg="del">
          <ac:chgData name="Ito Koichi" userId="7c59a57e28e385d5" providerId="LiveId" clId="{7BE1A0C3-347C-9343-AD50-5497B70087AB}" dt="2022-02-06T05:23:13.722" v="8216" actId="478"/>
          <ac:picMkLst>
            <pc:docMk/>
            <pc:sldMk cId="1340371423" sldId="332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6:04:20.888" v="8497" actId="20577"/>
        <pc:sldMkLst>
          <pc:docMk/>
          <pc:sldMk cId="205362079" sldId="333"/>
        </pc:sldMkLst>
        <pc:spChg chg="mod">
          <ac:chgData name="Ito Koichi" userId="7c59a57e28e385d5" providerId="LiveId" clId="{7BE1A0C3-347C-9343-AD50-5497B70087AB}" dt="2022-02-06T05:39:06.188" v="8321" actId="20577"/>
          <ac:spMkLst>
            <pc:docMk/>
            <pc:sldMk cId="205362079" sldId="33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6:04:05.416" v="8462" actId="20577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6:04:20.888" v="8497" actId="20577"/>
          <ac:spMkLst>
            <pc:docMk/>
            <pc:sldMk cId="205362079" sldId="333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6T05:46:48.046" v="8332" actId="1076"/>
          <ac:picMkLst>
            <pc:docMk/>
            <pc:sldMk cId="205362079" sldId="333"/>
            <ac:picMk id="3" creationId="{49C9BBA2-056C-A046-A020-7B8C023039EB}"/>
          </ac:picMkLst>
        </pc:picChg>
        <pc:picChg chg="del">
          <ac:chgData name="Ito Koichi" userId="7c59a57e28e385d5" providerId="LiveId" clId="{7BE1A0C3-347C-9343-AD50-5497B70087AB}" dt="2022-02-06T05:45:43.064" v="8322" actId="478"/>
          <ac:picMkLst>
            <pc:docMk/>
            <pc:sldMk cId="205362079" sldId="333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6T05:47:54.180" v="8347" actId="1076"/>
          <ac:picMkLst>
            <pc:docMk/>
            <pc:sldMk cId="205362079" sldId="333"/>
            <ac:picMk id="7" creationId="{9942146A-E537-914E-9D4A-AD763B78DF0C}"/>
          </ac:picMkLst>
        </pc:picChg>
        <pc:picChg chg="del">
          <ac:chgData name="Ito Koichi" userId="7c59a57e28e385d5" providerId="LiveId" clId="{7BE1A0C3-347C-9343-AD50-5497B70087AB}" dt="2022-02-06T05:45:44.108" v="8323" actId="478"/>
          <ac:picMkLst>
            <pc:docMk/>
            <pc:sldMk cId="205362079" sldId="333"/>
            <ac:picMk id="8" creationId="{892F2077-7536-9A4E-A549-3775903F2935}"/>
          </ac:picMkLst>
        </pc:picChg>
        <pc:picChg chg="add mod">
          <ac:chgData name="Ito Koichi" userId="7c59a57e28e385d5" providerId="LiveId" clId="{7BE1A0C3-347C-9343-AD50-5497B70087AB}" dt="2022-02-06T05:48:01.851" v="8349" actId="1076"/>
          <ac:picMkLst>
            <pc:docMk/>
            <pc:sldMk cId="205362079" sldId="333"/>
            <ac:picMk id="9" creationId="{B7E5A767-2B11-0541-91EB-4960F06B08F2}"/>
          </ac:picMkLst>
        </pc:picChg>
      </pc:sldChg>
      <pc:sldChg chg="addSp delSp modSp add mod">
        <pc:chgData name="Ito Koichi" userId="7c59a57e28e385d5" providerId="LiveId" clId="{7BE1A0C3-347C-9343-AD50-5497B70087AB}" dt="2022-02-06T07:30:33.108" v="8649" actId="20577"/>
        <pc:sldMkLst>
          <pc:docMk/>
          <pc:sldMk cId="3801842481" sldId="334"/>
        </pc:sldMkLst>
        <pc:spChg chg="mod">
          <ac:chgData name="Ito Koichi" userId="7c59a57e28e385d5" providerId="LiveId" clId="{7BE1A0C3-347C-9343-AD50-5497B70087AB}" dt="2022-02-06T07:18:38.106" v="8510" actId="20577"/>
          <ac:spMkLst>
            <pc:docMk/>
            <pc:sldMk cId="3801842481" sldId="33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29:49.393" v="8589" actId="20577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30:10.852" v="8622" actId="20577"/>
          <ac:spMkLst>
            <pc:docMk/>
            <pc:sldMk cId="3801842481" sldId="334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30:33.108" v="8649" actId="20577"/>
          <ac:spMkLst>
            <pc:docMk/>
            <pc:sldMk cId="3801842481" sldId="334"/>
            <ac:spMk id="19" creationId="{BB3B329B-3D41-FE48-BE33-00801BDC032D}"/>
          </ac:spMkLst>
        </pc:sp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29:55.250" v="8590" actId="1076"/>
          <ac:picMkLst>
            <pc:docMk/>
            <pc:sldMk cId="3801842481" sldId="334"/>
            <ac:picMk id="6" creationId="{FE5DDD97-0001-BA42-9734-81C496A145D0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29:57.850" v="8591" actId="1076"/>
          <ac:picMkLst>
            <pc:docMk/>
            <pc:sldMk cId="3801842481" sldId="334"/>
            <ac:picMk id="8" creationId="{C8B2417A-99A8-8D44-AB0C-926FF5E4F40A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9" creationId="{B7E5A767-2B11-0541-91EB-4960F06B08F2}"/>
          </ac:picMkLst>
        </pc:picChg>
        <pc:picChg chg="add mod">
          <ac:chgData name="Ito Koichi" userId="7c59a57e28e385d5" providerId="LiveId" clId="{7BE1A0C3-347C-9343-AD50-5497B70087AB}" dt="2022-02-06T07:29:07.095" v="8546" actId="1076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Ito Koichi" userId="7c59a57e28e385d5" providerId="LiveId" clId="{7BE1A0C3-347C-9343-AD50-5497B70087AB}" dt="2022-02-06T07:28:59.555" v="8544" actId="1076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add del">
        <pc:chgData name="Ito Koichi" userId="7c59a57e28e385d5" providerId="LiveId" clId="{7BE1A0C3-347C-9343-AD50-5497B70087AB}" dt="2022-02-06T07:43:01.343" v="8652" actId="2696"/>
        <pc:sldMkLst>
          <pc:docMk/>
          <pc:sldMk cId="1315141870" sldId="335"/>
        </pc:sldMkLst>
      </pc:sldChg>
      <pc:sldChg chg="addSp delSp modSp add mod">
        <pc:chgData name="Ito Koichi" userId="7c59a57e28e385d5" providerId="LiveId" clId="{7BE1A0C3-347C-9343-AD50-5497B70087AB}" dt="2022-02-06T07:49:02.434" v="8801" actId="14100"/>
        <pc:sldMkLst>
          <pc:docMk/>
          <pc:sldMk cId="1157339580" sldId="336"/>
        </pc:sldMkLst>
        <pc:spChg chg="mod">
          <ac:chgData name="Ito Koichi" userId="7c59a57e28e385d5" providerId="LiveId" clId="{7BE1A0C3-347C-9343-AD50-5497B70087AB}" dt="2022-02-06T07:48:23.997" v="8794" actId="20577"/>
          <ac:spMkLst>
            <pc:docMk/>
            <pc:sldMk cId="1157339580" sldId="33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47:40.908" v="8722" actId="20577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47:46.562" v="8749" actId="20577"/>
          <ac:spMkLst>
            <pc:docMk/>
            <pc:sldMk cId="1157339580" sldId="336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48:12.763" v="8781" actId="20577"/>
          <ac:spMkLst>
            <pc:docMk/>
            <pc:sldMk cId="1157339580" sldId="336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6T07:43:08.027" v="8653" actId="478"/>
          <ac:picMkLst>
            <pc:docMk/>
            <pc:sldMk cId="1157339580" sldId="336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45:21.259" v="8672" actId="1076"/>
          <ac:picMkLst>
            <pc:docMk/>
            <pc:sldMk cId="1157339580" sldId="336"/>
            <ac:picMk id="6" creationId="{C95D8C77-DC79-7542-91E3-DDE827A32829}"/>
          </ac:picMkLst>
        </pc:picChg>
        <pc:picChg chg="del">
          <ac:chgData name="Ito Koichi" userId="7c59a57e28e385d5" providerId="LiveId" clId="{7BE1A0C3-347C-9343-AD50-5497B70087AB}" dt="2022-02-06T07:44:39.571" v="8661" actId="478"/>
          <ac:picMkLst>
            <pc:docMk/>
            <pc:sldMk cId="1157339580" sldId="336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45:46.957" v="8675" actId="1076"/>
          <ac:picMkLst>
            <pc:docMk/>
            <pc:sldMk cId="1157339580" sldId="336"/>
            <ac:picMk id="8" creationId="{CC13D3DF-0C74-4A49-849A-58F73E8293CD}"/>
          </ac:picMkLst>
        </pc:picChg>
        <pc:picChg chg="del mod">
          <ac:chgData name="Ito Koichi" userId="7c59a57e28e385d5" providerId="LiveId" clId="{7BE1A0C3-347C-9343-AD50-5497B70087AB}" dt="2022-02-06T07:44:25.352" v="8659" actId="478"/>
          <ac:picMkLst>
            <pc:docMk/>
            <pc:sldMk cId="1157339580" sldId="336"/>
            <ac:picMk id="9" creationId="{B7E5A767-2B11-0541-91EB-4960F06B08F2}"/>
          </ac:picMkLst>
        </pc:picChg>
        <pc:picChg chg="add mod modCrop">
          <ac:chgData name="Ito Koichi" userId="7c59a57e28e385d5" providerId="LiveId" clId="{7BE1A0C3-347C-9343-AD50-5497B70087AB}" dt="2022-02-06T07:47:48.864" v="8750" actId="1076"/>
          <ac:picMkLst>
            <pc:docMk/>
            <pc:sldMk cId="1157339580" sldId="336"/>
            <ac:picMk id="10" creationId="{40BF923B-18EB-1B4E-A17A-69B4CCE11C8C}"/>
          </ac:picMkLst>
        </pc:picChg>
        <pc:cxnChg chg="add del mod">
          <ac:chgData name="Ito Koichi" userId="7c59a57e28e385d5" providerId="LiveId" clId="{7BE1A0C3-347C-9343-AD50-5497B70087AB}" dt="2022-02-06T07:48:58.070" v="8799" actId="478"/>
          <ac:cxnSpMkLst>
            <pc:docMk/>
            <pc:sldMk cId="1157339580" sldId="336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6T07:49:02.434" v="8801" actId="14100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addSp delSp modSp add mod">
        <pc:chgData name="Ito Koichi" userId="7c59a57e28e385d5" providerId="LiveId" clId="{7BE1A0C3-347C-9343-AD50-5497B70087AB}" dt="2022-02-06T08:14:34.206" v="8859" actId="20577"/>
        <pc:sldMkLst>
          <pc:docMk/>
          <pc:sldMk cId="2592558059" sldId="337"/>
        </pc:sldMkLst>
        <pc:spChg chg="mod">
          <ac:chgData name="Ito Koichi" userId="7c59a57e28e385d5" providerId="LiveId" clId="{7BE1A0C3-347C-9343-AD50-5497B70087AB}" dt="2022-02-06T08:10:32.260" v="8805" actId="20577"/>
          <ac:spMkLst>
            <pc:docMk/>
            <pc:sldMk cId="2592558059" sldId="33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8:14:23.686" v="8843" actId="20577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8:14:34.206" v="8859" actId="20577"/>
          <ac:spMkLst>
            <pc:docMk/>
            <pc:sldMk cId="2592558059" sldId="337"/>
            <ac:spMk id="16" creationId="{3135DF9F-9B95-D845-AFDC-FBE7DE7038D9}"/>
          </ac:spMkLst>
        </pc:spChg>
        <pc:picChg chg="add mod modCrop">
          <ac:chgData name="Ito Koichi" userId="7c59a57e28e385d5" providerId="LiveId" clId="{7BE1A0C3-347C-9343-AD50-5497B70087AB}" dt="2022-02-06T08:13:55.011" v="8832" actId="1076"/>
          <ac:picMkLst>
            <pc:docMk/>
            <pc:sldMk cId="2592558059" sldId="337"/>
            <ac:picMk id="3" creationId="{41CA1FCE-8631-2243-9A6C-F8195313CBC7}"/>
          </ac:picMkLst>
        </pc:picChg>
        <pc:picChg chg="del">
          <ac:chgData name="Ito Koichi" userId="7c59a57e28e385d5" providerId="LiveId" clId="{7BE1A0C3-347C-9343-AD50-5497B70087AB}" dt="2022-02-06T08:11:40.068" v="8814" actId="478"/>
          <ac:picMkLst>
            <pc:docMk/>
            <pc:sldMk cId="2592558059" sldId="337"/>
            <ac:picMk id="6" creationId="{C95D8C77-DC79-7542-91E3-DDE827A32829}"/>
          </ac:picMkLst>
        </pc:picChg>
        <pc:picChg chg="add mod">
          <ac:chgData name="Ito Koichi" userId="7c59a57e28e385d5" providerId="LiveId" clId="{7BE1A0C3-347C-9343-AD50-5497B70087AB}" dt="2022-02-06T08:13:19.595" v="8823" actId="1076"/>
          <ac:picMkLst>
            <pc:docMk/>
            <pc:sldMk cId="2592558059" sldId="337"/>
            <ac:picMk id="7" creationId="{5DB98CEC-B902-F542-AB38-E895A456F6E7}"/>
          </ac:picMkLst>
        </pc:picChg>
        <pc:picChg chg="del">
          <ac:chgData name="Ito Koichi" userId="7c59a57e28e385d5" providerId="LiveId" clId="{7BE1A0C3-347C-9343-AD50-5497B70087AB}" dt="2022-02-06T08:13:14.902" v="8822" actId="478"/>
          <ac:picMkLst>
            <pc:docMk/>
            <pc:sldMk cId="2592558059" sldId="337"/>
            <ac:picMk id="8" creationId="{CC13D3DF-0C74-4A49-849A-58F73E8293CD}"/>
          </ac:picMkLst>
        </pc:picChg>
        <pc:picChg chg="add mod modCrop">
          <ac:chgData name="Ito Koichi" userId="7c59a57e28e385d5" providerId="LiveId" clId="{7BE1A0C3-347C-9343-AD50-5497B70087AB}" dt="2022-02-06T08:13:48.349" v="8831" actId="1076"/>
          <ac:picMkLst>
            <pc:docMk/>
            <pc:sldMk cId="2592558059" sldId="337"/>
            <ac:picMk id="9" creationId="{1CBA57AB-0A77-6644-B866-437A2D50853E}"/>
          </ac:picMkLst>
        </pc:picChg>
        <pc:picChg chg="del mod">
          <ac:chgData name="Ito Koichi" userId="7c59a57e28e385d5" providerId="LiveId" clId="{7BE1A0C3-347C-9343-AD50-5497B70087AB}" dt="2022-02-06T08:13:44.664" v="8830" actId="478"/>
          <ac:picMkLst>
            <pc:docMk/>
            <pc:sldMk cId="2592558059" sldId="337"/>
            <ac:picMk id="10" creationId="{40BF923B-18EB-1B4E-A17A-69B4CCE11C8C}"/>
          </ac:picMkLst>
        </pc:picChg>
      </pc:sldChg>
      <pc:sldChg chg="addSp delSp modSp add mod">
        <pc:chgData name="Ito Koichi" userId="7c59a57e28e385d5" providerId="LiveId" clId="{7BE1A0C3-347C-9343-AD50-5497B70087AB}" dt="2022-02-07T02:37:11.252" v="9004" actId="20577"/>
        <pc:sldMkLst>
          <pc:docMk/>
          <pc:sldMk cId="4007988906" sldId="338"/>
        </pc:sldMkLst>
        <pc:spChg chg="mod">
          <ac:chgData name="Ito Koichi" userId="7c59a57e28e385d5" providerId="LiveId" clId="{7BE1A0C3-347C-9343-AD50-5497B70087AB}" dt="2022-02-07T02:32:51.854" v="8918" actId="20577"/>
          <ac:spMkLst>
            <pc:docMk/>
            <pc:sldMk cId="4007988906" sldId="33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37:11.252" v="9004" actId="20577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36:54.055" v="8979" actId="20577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Ito Koichi" userId="7c59a57e28e385d5" providerId="LiveId" clId="{7BE1A0C3-347C-9343-AD50-5497B70087AB}" dt="2022-02-07T02:36:57.655" v="8981" actId="20577"/>
          <ac:spMkLst>
            <pc:docMk/>
            <pc:sldMk cId="4007988906" sldId="338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3" creationId="{41CA1FCE-8631-2243-9A6C-F8195313CBC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6" creationId="{3994B19C-2E33-7149-B29C-34EB477EDBAB}"/>
          </ac:picMkLst>
        </pc:pic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7" creationId="{5DB98CEC-B902-F542-AB38-E895A456F6E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8" creationId="{216674CF-B575-864E-BCF1-136E5085E67A}"/>
          </ac:picMkLst>
        </pc:picChg>
        <pc:picChg chg="del">
          <ac:chgData name="Ito Koichi" userId="7c59a57e28e385d5" providerId="LiveId" clId="{7BE1A0C3-347C-9343-AD50-5497B70087AB}" dt="2022-02-07T02:33:50.596" v="8931" actId="478"/>
          <ac:picMkLst>
            <pc:docMk/>
            <pc:sldMk cId="4007988906" sldId="338"/>
            <ac:picMk id="9" creationId="{1CBA57AB-0A77-6644-B866-437A2D50853E}"/>
          </ac:picMkLst>
        </pc:picChg>
        <pc:picChg chg="add mod modCrop">
          <ac:chgData name="Ito Koichi" userId="7c59a57e28e385d5" providerId="LiveId" clId="{7BE1A0C3-347C-9343-AD50-5497B70087AB}" dt="2022-02-07T02:36:28.706" v="8960" actId="1076"/>
          <ac:picMkLst>
            <pc:docMk/>
            <pc:sldMk cId="4007988906" sldId="338"/>
            <ac:picMk id="10" creationId="{914156B0-223F-B641-8D58-741A6FE7C150}"/>
          </ac:picMkLst>
        </pc:picChg>
      </pc:sldChg>
      <pc:sldChg chg="addSp delSp modSp add mod">
        <pc:chgData name="Ito Koichi" userId="7c59a57e28e385d5" providerId="LiveId" clId="{7BE1A0C3-347C-9343-AD50-5497B70087AB}" dt="2022-02-07T02:51:12.961" v="9054" actId="1076"/>
        <pc:sldMkLst>
          <pc:docMk/>
          <pc:sldMk cId="1211257722" sldId="339"/>
        </pc:sldMkLst>
        <pc:spChg chg="mod">
          <ac:chgData name="Ito Koichi" userId="7c59a57e28e385d5" providerId="LiveId" clId="{7BE1A0C3-347C-9343-AD50-5497B70087AB}" dt="2022-02-07T02:46:45.974" v="9008" actId="20577"/>
          <ac:spMkLst>
            <pc:docMk/>
            <pc:sldMk cId="1211257722" sldId="33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50:33.466" v="9025" actId="20577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50:56.439" v="9049" actId="20577"/>
          <ac:spMkLst>
            <pc:docMk/>
            <pc:sldMk cId="1211257722" sldId="339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7T02:50:41.627" v="9028" actId="1076"/>
          <ac:picMkLst>
            <pc:docMk/>
            <pc:sldMk cId="1211257722" sldId="339"/>
            <ac:picMk id="3" creationId="{2C4032E4-7429-2D44-9797-593DD11F8065}"/>
          </ac:picMkLst>
        </pc:picChg>
        <pc:picChg chg="del">
          <ac:chgData name="Ito Koichi" userId="7c59a57e28e385d5" providerId="LiveId" clId="{7BE1A0C3-347C-9343-AD50-5497B70087AB}" dt="2022-02-07T02:48:19.012" v="9011" actId="478"/>
          <ac:picMkLst>
            <pc:docMk/>
            <pc:sldMk cId="1211257722" sldId="339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7T02:51:12.961" v="9054" actId="1076"/>
          <ac:picMkLst>
            <pc:docMk/>
            <pc:sldMk cId="1211257722" sldId="339"/>
            <ac:picMk id="7" creationId="{852659C8-7B9F-9B49-A819-7FD842318647}"/>
          </ac:picMkLst>
        </pc:picChg>
        <pc:picChg chg="del">
          <ac:chgData name="Ito Koichi" userId="7c59a57e28e385d5" providerId="LiveId" clId="{7BE1A0C3-347C-9343-AD50-5497B70087AB}" dt="2022-02-07T02:50:44.483" v="9029" actId="478"/>
          <ac:picMkLst>
            <pc:docMk/>
            <pc:sldMk cId="1211257722" sldId="339"/>
            <ac:picMk id="8" creationId="{892F2077-7536-9A4E-A549-3775903F2935}"/>
          </ac:picMkLst>
        </pc:picChg>
      </pc:sldChg>
      <pc:sldChg chg="addSp delSp modSp add mod">
        <pc:chgData name="Ito Koichi" userId="7c59a57e28e385d5" providerId="LiveId" clId="{7BE1A0C3-347C-9343-AD50-5497B70087AB}" dt="2022-02-07T02:53:58.328" v="9092" actId="1076"/>
        <pc:sldMkLst>
          <pc:docMk/>
          <pc:sldMk cId="2869113427" sldId="340"/>
        </pc:sldMkLst>
        <pc:spChg chg="mod">
          <ac:chgData name="Ito Koichi" userId="7c59a57e28e385d5" providerId="LiveId" clId="{7BE1A0C3-347C-9343-AD50-5497B70087AB}" dt="2022-02-07T02:51:37.026" v="9056"/>
          <ac:spMkLst>
            <pc:docMk/>
            <pc:sldMk cId="2869113427" sldId="340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2:51:43.713" v="9058" actId="478"/>
          <ac:spMkLst>
            <pc:docMk/>
            <pc:sldMk cId="2869113427" sldId="340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2-07T02:51:41.448" v="9057" actId="478"/>
          <ac:spMkLst>
            <pc:docMk/>
            <pc:sldMk cId="2869113427" sldId="340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7T02:51:48.481" v="9060" actId="478"/>
          <ac:spMkLst>
            <pc:docMk/>
            <pc:sldMk cId="2869113427" sldId="340"/>
            <ac:spMk id="10" creationId="{C8182ED3-6F7C-E745-8DE3-556B6469DAB5}"/>
          </ac:spMkLst>
        </pc:spChg>
        <pc:spChg chg="del">
          <ac:chgData name="Ito Koichi" userId="7c59a57e28e385d5" providerId="LiveId" clId="{7BE1A0C3-347C-9343-AD50-5497B70087AB}" dt="2022-02-07T02:51:45.648" v="9059" actId="478"/>
          <ac:spMkLst>
            <pc:docMk/>
            <pc:sldMk cId="2869113427" sldId="340"/>
            <ac:spMk id="11" creationId="{E50EADCA-CE8B-D24B-A647-60C021402BD5}"/>
          </ac:spMkLst>
        </pc:spChg>
        <pc:picChg chg="add mod modCrop">
          <ac:chgData name="Ito Koichi" userId="7c59a57e28e385d5" providerId="LiveId" clId="{7BE1A0C3-347C-9343-AD50-5497B70087AB}" dt="2022-02-07T02:53:45.137" v="9089" actId="1076"/>
          <ac:picMkLst>
            <pc:docMk/>
            <pc:sldMk cId="2869113427" sldId="340"/>
            <ac:picMk id="3" creationId="{A51E28B3-3C6E-994E-9BC2-0B107E2377EF}"/>
          </ac:picMkLst>
        </pc:picChg>
        <pc:picChg chg="add mod modCrop">
          <ac:chgData name="Ito Koichi" userId="7c59a57e28e385d5" providerId="LiveId" clId="{7BE1A0C3-347C-9343-AD50-5497B70087AB}" dt="2022-02-07T02:53:48.207" v="9090" actId="1076"/>
          <ac:picMkLst>
            <pc:docMk/>
            <pc:sldMk cId="2869113427" sldId="340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3:55.733" v="9091" actId="1076"/>
          <ac:picMkLst>
            <pc:docMk/>
            <pc:sldMk cId="2869113427" sldId="340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2:51:43.713" v="9058" actId="478"/>
          <ac:picMkLst>
            <pc:docMk/>
            <pc:sldMk cId="2869113427" sldId="340"/>
            <ac:picMk id="14" creationId="{D1F5D850-FCC4-8D4C-91A0-9DFA814FEB34}"/>
          </ac:picMkLst>
        </pc:picChg>
        <pc:picChg chg="add mod modCrop">
          <ac:chgData name="Ito Koichi" userId="7c59a57e28e385d5" providerId="LiveId" clId="{7BE1A0C3-347C-9343-AD50-5497B70087AB}" dt="2022-02-07T02:53:58.328" v="9092" actId="1076"/>
          <ac:picMkLst>
            <pc:docMk/>
            <pc:sldMk cId="2869113427" sldId="340"/>
            <ac:picMk id="15" creationId="{E8668082-2D11-4241-8144-91EE44B2711C}"/>
          </ac:picMkLst>
        </pc:picChg>
        <pc:picChg chg="del">
          <ac:chgData name="Ito Koichi" userId="7c59a57e28e385d5" providerId="LiveId" clId="{7BE1A0C3-347C-9343-AD50-5497B70087AB}" dt="2022-02-07T02:51:41.448" v="9057" actId="478"/>
          <ac:picMkLst>
            <pc:docMk/>
            <pc:sldMk cId="2869113427" sldId="340"/>
            <ac:picMk id="16" creationId="{7274D8B4-B818-4B44-B2D7-6139C6F73BA2}"/>
          </ac:picMkLst>
        </pc:picChg>
        <pc:picChg chg="del">
          <ac:chgData name="Ito Koichi" userId="7c59a57e28e385d5" providerId="LiveId" clId="{7BE1A0C3-347C-9343-AD50-5497B70087AB}" dt="2022-02-07T02:51:45.648" v="9059" actId="478"/>
          <ac:picMkLst>
            <pc:docMk/>
            <pc:sldMk cId="2869113427" sldId="340"/>
            <ac:picMk id="18" creationId="{5DC01CDA-C748-284C-8B5F-0D819D4E8FB6}"/>
          </ac:picMkLst>
        </pc:picChg>
      </pc:sldChg>
      <pc:sldChg chg="addSp delSp modSp add mod">
        <pc:chgData name="Ito Koichi" userId="7c59a57e28e385d5" providerId="LiveId" clId="{7BE1A0C3-347C-9343-AD50-5497B70087AB}" dt="2022-02-07T03:00:32.499" v="9140" actId="1076"/>
        <pc:sldMkLst>
          <pc:docMk/>
          <pc:sldMk cId="4032969113" sldId="341"/>
        </pc:sldMkLst>
        <pc:picChg chg="del">
          <ac:chgData name="Ito Koichi" userId="7c59a57e28e385d5" providerId="LiveId" clId="{7BE1A0C3-347C-9343-AD50-5497B70087AB}" dt="2022-02-07T02:57:50.399" v="9110" actId="478"/>
          <ac:picMkLst>
            <pc:docMk/>
            <pc:sldMk cId="4032969113" sldId="341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2:58:37.244" v="9119" actId="478"/>
          <ac:picMkLst>
            <pc:docMk/>
            <pc:sldMk cId="4032969113" sldId="341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8:09.088" v="9113" actId="1076"/>
          <ac:picMkLst>
            <pc:docMk/>
            <pc:sldMk cId="4032969113" sldId="341"/>
            <ac:picMk id="7" creationId="{CE90258F-2D6A-AD43-9C5F-4939A339DE08}"/>
          </ac:picMkLst>
        </pc:picChg>
        <pc:picChg chg="add mod modCrop">
          <ac:chgData name="Ito Koichi" userId="7c59a57e28e385d5" providerId="LiveId" clId="{7BE1A0C3-347C-9343-AD50-5497B70087AB}" dt="2022-02-07T02:58:44.760" v="9121" actId="1076"/>
          <ac:picMkLst>
            <pc:docMk/>
            <pc:sldMk cId="4032969113" sldId="341"/>
            <ac:picMk id="9" creationId="{F6FE218F-A365-7342-8DE9-CBF656FE55EC}"/>
          </ac:picMkLst>
        </pc:picChg>
        <pc:picChg chg="add mod modCrop">
          <ac:chgData name="Ito Koichi" userId="7c59a57e28e385d5" providerId="LiveId" clId="{7BE1A0C3-347C-9343-AD50-5497B70087AB}" dt="2022-02-07T02:59:41.325" v="9130" actId="1076"/>
          <ac:picMkLst>
            <pc:docMk/>
            <pc:sldMk cId="4032969113" sldId="341"/>
            <ac:picMk id="10" creationId="{C48C3F53-D6E2-114D-AA9D-0B7574C5B8B5}"/>
          </ac:picMkLst>
        </pc:picChg>
        <pc:picChg chg="add mod modCrop">
          <ac:chgData name="Ito Koichi" userId="7c59a57e28e385d5" providerId="LiveId" clId="{7BE1A0C3-347C-9343-AD50-5497B70087AB}" dt="2022-02-07T03:00:32.499" v="9140" actId="1076"/>
          <ac:picMkLst>
            <pc:docMk/>
            <pc:sldMk cId="4032969113" sldId="341"/>
            <ac:picMk id="11" creationId="{95F0DA39-97AF-8A4B-B64A-97E00348F3B8}"/>
          </ac:picMkLst>
        </pc:picChg>
        <pc:picChg chg="del">
          <ac:chgData name="Ito Koichi" userId="7c59a57e28e385d5" providerId="LiveId" clId="{7BE1A0C3-347C-9343-AD50-5497B70087AB}" dt="2022-02-07T02:59:26.517" v="9127" actId="478"/>
          <ac:picMkLst>
            <pc:docMk/>
            <pc:sldMk cId="4032969113" sldId="341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0:04.137" v="9136" actId="478"/>
          <ac:picMkLst>
            <pc:docMk/>
            <pc:sldMk cId="4032969113" sldId="341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07:29.820" v="9190" actId="1076"/>
        <pc:sldMkLst>
          <pc:docMk/>
          <pc:sldMk cId="2976533686" sldId="342"/>
        </pc:sldMkLst>
        <pc:picChg chg="del">
          <ac:chgData name="Ito Koichi" userId="7c59a57e28e385d5" providerId="LiveId" clId="{7BE1A0C3-347C-9343-AD50-5497B70087AB}" dt="2022-02-07T03:04:15.790" v="9160" actId="478"/>
          <ac:picMkLst>
            <pc:docMk/>
            <pc:sldMk cId="2976533686" sldId="342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04:49.998" v="9170" actId="478"/>
          <ac:picMkLst>
            <pc:docMk/>
            <pc:sldMk cId="2976533686" sldId="342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04:28.392" v="9163" actId="1076"/>
          <ac:picMkLst>
            <pc:docMk/>
            <pc:sldMk cId="2976533686" sldId="342"/>
            <ac:picMk id="7" creationId="{AE4B9C6E-C04E-484B-8597-11FF3C553B96}"/>
          </ac:picMkLst>
        </pc:picChg>
        <pc:picChg chg="add mod modCrop">
          <ac:chgData name="Ito Koichi" userId="7c59a57e28e385d5" providerId="LiveId" clId="{7BE1A0C3-347C-9343-AD50-5497B70087AB}" dt="2022-02-07T03:04:55.984" v="9172" actId="1076"/>
          <ac:picMkLst>
            <pc:docMk/>
            <pc:sldMk cId="2976533686" sldId="342"/>
            <ac:picMk id="9" creationId="{19DCB535-49E8-EB47-8A8C-6F6E96BB9A91}"/>
          </ac:picMkLst>
        </pc:picChg>
        <pc:picChg chg="add mod modCrop">
          <ac:chgData name="Ito Koichi" userId="7c59a57e28e385d5" providerId="LiveId" clId="{7BE1A0C3-347C-9343-AD50-5497B70087AB}" dt="2022-02-07T03:06:21.523" v="9178" actId="1076"/>
          <ac:picMkLst>
            <pc:docMk/>
            <pc:sldMk cId="2976533686" sldId="342"/>
            <ac:picMk id="10" creationId="{C02BEB45-EA89-0E41-8E81-9F58B4317D2D}"/>
          </ac:picMkLst>
        </pc:picChg>
        <pc:picChg chg="add mod modCrop">
          <ac:chgData name="Ito Koichi" userId="7c59a57e28e385d5" providerId="LiveId" clId="{7BE1A0C3-347C-9343-AD50-5497B70087AB}" dt="2022-02-07T03:07:29.820" v="9190" actId="1076"/>
          <ac:picMkLst>
            <pc:docMk/>
            <pc:sldMk cId="2976533686" sldId="342"/>
            <ac:picMk id="11" creationId="{05B6E224-55C8-BC4E-8739-6E82E7513B37}"/>
          </ac:picMkLst>
        </pc:picChg>
        <pc:picChg chg="del mod">
          <ac:chgData name="Ito Koichi" userId="7c59a57e28e385d5" providerId="LiveId" clId="{7BE1A0C3-347C-9343-AD50-5497B70087AB}" dt="2022-02-07T03:06:15.943" v="9177" actId="478"/>
          <ac:picMkLst>
            <pc:docMk/>
            <pc:sldMk cId="2976533686" sldId="342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6:22.952" v="9179" actId="478"/>
          <ac:picMkLst>
            <pc:docMk/>
            <pc:sldMk cId="2976533686" sldId="342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36:42.816" v="9217" actId="22"/>
        <pc:sldMkLst>
          <pc:docMk/>
          <pc:sldMk cId="3354946574" sldId="343"/>
        </pc:sldMkLst>
        <pc:spChg chg="add mod">
          <ac:chgData name="Ito Koichi" userId="7c59a57e28e385d5" providerId="LiveId" clId="{7BE1A0C3-347C-9343-AD50-5497B70087AB}" dt="2022-02-07T03:11:24.698" v="9215" actId="20577"/>
          <ac:spMkLst>
            <pc:docMk/>
            <pc:sldMk cId="3354946574" sldId="343"/>
            <ac:spMk id="14" creationId="{4F18B7E7-0131-484B-A38B-E48F06BEB1CB}"/>
          </ac:spMkLst>
        </pc:spChg>
        <pc:spChg chg="add del">
          <ac:chgData name="Ito Koichi" userId="7c59a57e28e385d5" providerId="LiveId" clId="{7BE1A0C3-347C-9343-AD50-5497B70087AB}" dt="2022-02-07T03:36:42.816" v="9217" actId="22"/>
          <ac:spMkLst>
            <pc:docMk/>
            <pc:sldMk cId="3354946574" sldId="343"/>
            <ac:spMk id="16" creationId="{1EF2502B-78CC-5447-983B-9CFD75FDBC1D}"/>
          </ac:spMkLst>
        </pc:sp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10:56.151" v="9197" actId="1076"/>
          <ac:picMkLst>
            <pc:docMk/>
            <pc:sldMk cId="3354946574" sldId="343"/>
            <ac:picMk id="7" creationId="{7BD85EDA-3504-AD49-8D78-7604D5BAADAA}"/>
          </ac:picMkLst>
        </pc:pic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15" creationId="{E8668082-2D11-4241-8144-91EE44B2711C}"/>
          </ac:picMkLst>
        </pc:pic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8" creationId="{A58C18FD-2B03-F642-8729-838FF160FC40}"/>
          </ac:cxnSpMkLst>
        </pc:cxn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13" creationId="{A017306C-F8F0-B04F-A118-EB7ADEBE332F}"/>
          </ac:cxnSpMkLst>
        </pc:cxnChg>
      </pc:sldChg>
      <pc:sldChg chg="addSp delSp modSp add mod">
        <pc:chgData name="Ito Koichi" userId="7c59a57e28e385d5" providerId="LiveId" clId="{7BE1A0C3-347C-9343-AD50-5497B70087AB}" dt="2022-02-07T03:57:21.985" v="9369" actId="1076"/>
        <pc:sldMkLst>
          <pc:docMk/>
          <pc:sldMk cId="2553378438" sldId="344"/>
        </pc:sldMkLst>
        <pc:spChg chg="mod">
          <ac:chgData name="Ito Koichi" userId="7c59a57e28e385d5" providerId="LiveId" clId="{7BE1A0C3-347C-9343-AD50-5497B70087AB}" dt="2022-02-07T03:37:04.521" v="9236" actId="20577"/>
          <ac:spMkLst>
            <pc:docMk/>
            <pc:sldMk cId="2553378438" sldId="344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3:37:41.586" v="9238" actId="478"/>
          <ac:spMkLst>
            <pc:docMk/>
            <pc:sldMk cId="2553378438" sldId="344"/>
            <ac:spMk id="14" creationId="{4F18B7E7-0131-484B-A38B-E48F06BEB1CB}"/>
          </ac:spMkLst>
        </pc:spChg>
        <pc:spChg chg="add mod">
          <ac:chgData name="Ito Koichi" userId="7c59a57e28e385d5" providerId="LiveId" clId="{7BE1A0C3-347C-9343-AD50-5497B70087AB}" dt="2022-02-07T03:57:10.824" v="9367" actId="20577"/>
          <ac:spMkLst>
            <pc:docMk/>
            <pc:sldMk cId="2553378438" sldId="344"/>
            <ac:spMk id="15" creationId="{826DB648-3838-EF44-8FC6-597E9F4F6140}"/>
          </ac:spMkLst>
        </pc:spChg>
        <pc:grpChg chg="add del mod">
          <ac:chgData name="Ito Koichi" userId="7c59a57e28e385d5" providerId="LiveId" clId="{7BE1A0C3-347C-9343-AD50-5497B70087AB}" dt="2022-02-07T03:54:56.679" v="9306" actId="165"/>
          <ac:grpSpMkLst>
            <pc:docMk/>
            <pc:sldMk cId="2553378438" sldId="344"/>
            <ac:grpSpMk id="10" creationId="{0E0867C1-99EC-5F49-AAED-4309306B3664}"/>
          </ac:grpSpMkLst>
        </pc:grpChg>
        <pc:picChg chg="add del">
          <ac:chgData name="Ito Koichi" userId="7c59a57e28e385d5" providerId="LiveId" clId="{7BE1A0C3-347C-9343-AD50-5497B70087AB}" dt="2022-02-07T03:36:57.243" v="9220"/>
          <ac:picMkLst>
            <pc:docMk/>
            <pc:sldMk cId="2553378438" sldId="344"/>
            <ac:picMk id="3" creationId="{8414191A-4E55-5C44-962E-4DFADA499BE0}"/>
          </ac:picMkLst>
        </pc:picChg>
        <pc:picChg chg="add mod topLvl modCrop">
          <ac:chgData name="Ito Koichi" userId="7c59a57e28e385d5" providerId="LiveId" clId="{7BE1A0C3-347C-9343-AD50-5497B70087AB}" dt="2022-02-07T03:55:14.776" v="9312" actId="1076"/>
          <ac:picMkLst>
            <pc:docMk/>
            <pc:sldMk cId="2553378438" sldId="344"/>
            <ac:picMk id="6" creationId="{489AC98D-D9ED-9B48-AAE8-920A3CA7C040}"/>
          </ac:picMkLst>
        </pc:picChg>
        <pc:picChg chg="del">
          <ac:chgData name="Ito Koichi" userId="7c59a57e28e385d5" providerId="LiveId" clId="{7BE1A0C3-347C-9343-AD50-5497B70087AB}" dt="2022-02-07T03:37:36.854" v="9237" actId="478"/>
          <ac:picMkLst>
            <pc:docMk/>
            <pc:sldMk cId="2553378438" sldId="344"/>
            <ac:picMk id="7" creationId="{7BD85EDA-3504-AD49-8D78-7604D5BAADAA}"/>
          </ac:picMkLst>
        </pc:picChg>
        <pc:picChg chg="add del mod topLvl modCrop">
          <ac:chgData name="Ito Koichi" userId="7c59a57e28e385d5" providerId="LiveId" clId="{7BE1A0C3-347C-9343-AD50-5497B70087AB}" dt="2022-02-07T03:54:59.662" v="9307" actId="478"/>
          <ac:picMkLst>
            <pc:docMk/>
            <pc:sldMk cId="2553378438" sldId="344"/>
            <ac:picMk id="9" creationId="{1BED73D0-A360-3B45-B227-CF8CB39DD98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1" creationId="{8914FA1E-C237-4947-A095-0CFE9B46834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2" creationId="{7CDBD31C-DD27-414A-AA48-0C4B0B9428D5}"/>
          </ac:picMkLst>
        </pc:picChg>
        <pc:cxnChg chg="add mod">
          <ac:chgData name="Ito Koichi" userId="7c59a57e28e385d5" providerId="LiveId" clId="{7BE1A0C3-347C-9343-AD50-5497B70087AB}" dt="2022-02-07T03:37:48.680" v="9239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5:09:22.397" v="9470" actId="20577"/>
        <pc:sldMkLst>
          <pc:docMk/>
          <pc:sldMk cId="2358782502" sldId="345"/>
        </pc:sldMkLst>
        <pc:spChg chg="add mod">
          <ac:chgData name="Ito Koichi" userId="7c59a57e28e385d5" providerId="LiveId" clId="{7BE1A0C3-347C-9343-AD50-5497B70087AB}" dt="2022-02-07T05:09:22.397" v="9470" actId="20577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08:47.875" v="9412" actId="20577"/>
          <ac:spMkLst>
            <pc:docMk/>
            <pc:sldMk cId="2358782502" sldId="345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06:53.098" v="9383" actId="1076"/>
          <ac:picMkLst>
            <pc:docMk/>
            <pc:sldMk cId="2358782502" sldId="345"/>
            <ac:picMk id="3" creationId="{7BF31179-A838-5649-9ECE-E743A00A8665}"/>
          </ac:picMkLst>
        </pc:picChg>
        <pc:picChg chg="del">
          <ac:chgData name="Ito Koichi" userId="7c59a57e28e385d5" providerId="LiveId" clId="{7BE1A0C3-347C-9343-AD50-5497B70087AB}" dt="2022-02-07T05:06:25.770" v="9378" actId="478"/>
          <ac:picMkLst>
            <pc:docMk/>
            <pc:sldMk cId="2358782502" sldId="345"/>
            <ac:picMk id="6" creationId="{489AC98D-D9ED-9B48-AAE8-920A3CA7C040}"/>
          </ac:picMkLst>
        </pc:picChg>
        <pc:picChg chg="add mod modCrop">
          <ac:chgData name="Ito Koichi" userId="7c59a57e28e385d5" providerId="LiveId" clId="{7BE1A0C3-347C-9343-AD50-5497B70087AB}" dt="2022-02-07T05:09:16.735" v="9452" actId="1076"/>
          <ac:picMkLst>
            <pc:docMk/>
            <pc:sldMk cId="2358782502" sldId="345"/>
            <ac:picMk id="7" creationId="{53258D6C-D1F4-E440-9FE5-2BA5C0E4E160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1" creationId="{8914FA1E-C237-4947-A095-0CFE9B46834A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2" creationId="{7CDBD31C-DD27-414A-AA48-0C4B0B9428D5}"/>
          </ac:picMkLst>
        </pc:picChg>
      </pc:sldChg>
      <pc:sldChg chg="addSp delSp modSp add mod ord">
        <pc:chgData name="Ito Koichi" userId="7c59a57e28e385d5" providerId="LiveId" clId="{7BE1A0C3-347C-9343-AD50-5497B70087AB}" dt="2022-02-07T05:26:43.505" v="9566" actId="20578"/>
        <pc:sldMkLst>
          <pc:docMk/>
          <pc:sldMk cId="1411732116" sldId="346"/>
        </pc:sldMkLst>
        <pc:spChg chg="mod">
          <ac:chgData name="Ito Koichi" userId="7c59a57e28e385d5" providerId="LiveId" clId="{7BE1A0C3-347C-9343-AD50-5497B70087AB}" dt="2022-02-07T05:11:24.795" v="9512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10:25.330" v="9510" actId="20577"/>
          <ac:spMkLst>
            <pc:docMk/>
            <pc:sldMk cId="1411732116" sldId="346"/>
            <ac:spMk id="15" creationId="{826DB648-3838-EF44-8FC6-597E9F4F6140}"/>
          </ac:spMkLst>
        </pc:spChg>
        <pc:picChg chg="del">
          <ac:chgData name="Ito Koichi" userId="7c59a57e28e385d5" providerId="LiveId" clId="{7BE1A0C3-347C-9343-AD50-5497B70087AB}" dt="2022-02-07T05:10:13.809" v="9483" actId="478"/>
          <ac:picMkLst>
            <pc:docMk/>
            <pc:sldMk cId="1411732116" sldId="346"/>
            <ac:picMk id="3" creationId="{7BF31179-A838-5649-9ECE-E743A00A8665}"/>
          </ac:picMkLst>
        </pc:picChg>
        <pc:picChg chg="add del mod">
          <ac:chgData name="Ito Koichi" userId="7c59a57e28e385d5" providerId="LiveId" clId="{7BE1A0C3-347C-9343-AD50-5497B70087AB}" dt="2022-02-07T05:10:28.601" v="9511" actId="1076"/>
          <ac:picMkLst>
            <pc:docMk/>
            <pc:sldMk cId="1411732116" sldId="346"/>
            <ac:picMk id="6" creationId="{161F233A-9D91-5A43-B224-6D8C4C63769F}"/>
          </ac:picMkLst>
        </pc:picChg>
        <pc:picChg chg="del mod">
          <ac:chgData name="Ito Koichi" userId="7c59a57e28e385d5" providerId="LiveId" clId="{7BE1A0C3-347C-9343-AD50-5497B70087AB}" dt="2022-02-07T05:11:52.182" v="9522" actId="478"/>
          <ac:picMkLst>
            <pc:docMk/>
            <pc:sldMk cId="1411732116" sldId="346"/>
            <ac:picMk id="7" creationId="{53258D6C-D1F4-E440-9FE5-2BA5C0E4E160}"/>
          </ac:picMkLst>
        </pc:picChg>
        <pc:picChg chg="add mod modCrop">
          <ac:chgData name="Ito Koichi" userId="7c59a57e28e385d5" providerId="LiveId" clId="{7BE1A0C3-347C-9343-AD50-5497B70087AB}" dt="2022-02-07T05:11:55.478" v="9523" actId="1076"/>
          <ac:picMkLst>
            <pc:docMk/>
            <pc:sldMk cId="1411732116" sldId="346"/>
            <ac:picMk id="9" creationId="{871B1632-2B1C-BC4A-8A8D-780B3DB933E9}"/>
          </ac:picMkLst>
        </pc:picChg>
      </pc:sldChg>
      <pc:sldChg chg="addSp delSp modSp add del mod ord">
        <pc:chgData name="Ito Koichi" userId="7c59a57e28e385d5" providerId="LiveId" clId="{7BE1A0C3-347C-9343-AD50-5497B70087AB}" dt="2022-02-07T05:18:04.765" v="9564" actId="2696"/>
        <pc:sldMkLst>
          <pc:docMk/>
          <pc:sldMk cId="1285359770" sldId="347"/>
        </pc:sldMkLst>
        <pc:picChg chg="del">
          <ac:chgData name="Ito Koichi" userId="7c59a57e28e385d5" providerId="LiveId" clId="{7BE1A0C3-347C-9343-AD50-5497B70087AB}" dt="2022-02-07T05:12:24.057" v="9529" actId="478"/>
          <ac:picMkLst>
            <pc:docMk/>
            <pc:sldMk cId="1285359770" sldId="347"/>
            <ac:picMk id="3" creationId="{7BF31179-A838-5649-9ECE-E743A00A8665}"/>
          </ac:picMkLst>
        </pc:picChg>
        <pc:picChg chg="add mod modCrop">
          <ac:chgData name="Ito Koichi" userId="7c59a57e28e385d5" providerId="LiveId" clId="{7BE1A0C3-347C-9343-AD50-5497B70087AB}" dt="2022-02-07T05:12:27.734" v="9530" actId="1076"/>
          <ac:picMkLst>
            <pc:docMk/>
            <pc:sldMk cId="1285359770" sldId="347"/>
            <ac:picMk id="6" creationId="{21D51BF6-CB89-474B-905D-0786DF26E42C}"/>
          </ac:picMkLst>
        </pc:picChg>
      </pc:sldChg>
      <pc:sldChg chg="addSp delSp modSp add mod ord">
        <pc:chgData name="Ito Koichi" userId="7c59a57e28e385d5" providerId="LiveId" clId="{7BE1A0C3-347C-9343-AD50-5497B70087AB}" dt="2022-02-07T05:42:30.957" v="9644"/>
        <pc:sldMkLst>
          <pc:docMk/>
          <pc:sldMk cId="2894643259" sldId="348"/>
        </pc:sldMkLst>
        <pc:spChg chg="mod">
          <ac:chgData name="Ito Koichi" userId="7c59a57e28e385d5" providerId="LiveId" clId="{7BE1A0C3-347C-9343-AD50-5497B70087AB}" dt="2022-02-07T05:42:30.957" v="9644"/>
          <ac:spMkLst>
            <pc:docMk/>
            <pc:sldMk cId="2894643259" sldId="348"/>
            <ac:spMk id="2" creationId="{18C0CF12-81D5-0D4F-A24F-3BAC5546F0A4}"/>
          </ac:spMkLst>
        </pc:spChg>
        <pc:picChg chg="add mod modCrop">
          <ac:chgData name="Ito Koichi" userId="7c59a57e28e385d5" providerId="LiveId" clId="{7BE1A0C3-347C-9343-AD50-5497B70087AB}" dt="2022-02-07T05:16:16.456" v="9547" actId="1076"/>
          <ac:picMkLst>
            <pc:docMk/>
            <pc:sldMk cId="2894643259" sldId="348"/>
            <ac:picMk id="3" creationId="{BB0B0B61-56DC-CA42-B549-FD5ADB80C689}"/>
          </ac:picMkLst>
        </pc:picChg>
        <pc:picChg chg="add mod modCrop">
          <ac:chgData name="Ito Koichi" userId="7c59a57e28e385d5" providerId="LiveId" clId="{7BE1A0C3-347C-9343-AD50-5497B70087AB}" dt="2022-02-07T05:16:36.126" v="9553" actId="1076"/>
          <ac:picMkLst>
            <pc:docMk/>
            <pc:sldMk cId="2894643259" sldId="348"/>
            <ac:picMk id="6" creationId="{C872FDEB-E92A-594F-B60C-48214247227D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7" creationId="{CE90258F-2D6A-AD43-9C5F-4939A339DE08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9" creationId="{F6FE218F-A365-7342-8DE9-CBF656FE55EC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0" creationId="{C48C3F53-D6E2-114D-AA9D-0B7574C5B8B5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1" creationId="{95F0DA39-97AF-8A4B-B64A-97E00348F3B8}"/>
          </ac:picMkLst>
        </pc:picChg>
        <pc:picChg chg="add mod modCrop">
          <ac:chgData name="Ito Koichi" userId="7c59a57e28e385d5" providerId="LiveId" clId="{7BE1A0C3-347C-9343-AD50-5497B70087AB}" dt="2022-02-07T05:17:13.501" v="9558" actId="1076"/>
          <ac:picMkLst>
            <pc:docMk/>
            <pc:sldMk cId="2894643259" sldId="348"/>
            <ac:picMk id="12" creationId="{5D0FD201-EFB7-814F-99E9-21CBA0BA052E}"/>
          </ac:picMkLst>
        </pc:picChg>
        <pc:picChg chg="add mod modCrop">
          <ac:chgData name="Ito Koichi" userId="7c59a57e28e385d5" providerId="LiveId" clId="{7BE1A0C3-347C-9343-AD50-5497B70087AB}" dt="2022-02-07T05:17:32.829" v="9562" actId="1076"/>
          <ac:picMkLst>
            <pc:docMk/>
            <pc:sldMk cId="2894643259" sldId="348"/>
            <ac:picMk id="14" creationId="{35D3B78E-D921-4746-8666-F07E734E0953}"/>
          </ac:picMkLst>
        </pc:picChg>
      </pc:sldChg>
      <pc:sldChg chg="addSp delSp modSp add mod">
        <pc:chgData name="Ito Koichi" userId="7c59a57e28e385d5" providerId="LiveId" clId="{7BE1A0C3-347C-9343-AD50-5497B70087AB}" dt="2022-02-07T05:44:21.632" v="9688" actId="1076"/>
        <pc:sldMkLst>
          <pc:docMk/>
          <pc:sldMk cId="674571283" sldId="349"/>
        </pc:sldMkLst>
        <pc:spChg chg="del">
          <ac:chgData name="Ito Koichi" userId="7c59a57e28e385d5" providerId="LiveId" clId="{7BE1A0C3-347C-9343-AD50-5497B70087AB}" dt="2022-02-07T05:34:46.960" v="9604" actId="478"/>
          <ac:spMkLst>
            <pc:docMk/>
            <pc:sldMk cId="674571283" sldId="349"/>
            <ac:spMk id="13" creationId="{0B0103E5-0A96-7C44-A589-FB060215E84A}"/>
          </ac:spMkLst>
        </pc:spChg>
        <pc:spChg chg="del mod">
          <ac:chgData name="Ito Koichi" userId="7c59a57e28e385d5" providerId="LiveId" clId="{7BE1A0C3-347C-9343-AD50-5497B70087AB}" dt="2022-02-07T05:42:39.576" v="9646" actId="478"/>
          <ac:spMkLst>
            <pc:docMk/>
            <pc:sldMk cId="674571283" sldId="349"/>
            <ac:spMk id="15" creationId="{826DB648-3838-EF44-8FC6-597E9F4F6140}"/>
          </ac:spMkLst>
        </pc:spChg>
        <pc:spChg chg="add mod">
          <ac:chgData name="Ito Koichi" userId="7c59a57e28e385d5" providerId="LiveId" clId="{7BE1A0C3-347C-9343-AD50-5497B70087AB}" dt="2022-02-07T05:44:21.632" v="9688" actId="1076"/>
          <ac:spMkLst>
            <pc:docMk/>
            <pc:sldMk cId="674571283" sldId="349"/>
            <ac:spMk id="16" creationId="{25BBD28C-37B6-014C-A5AA-391760B20BE0}"/>
          </ac:spMkLst>
        </pc:spChg>
        <pc:picChg chg="add del mod modCrop">
          <ac:chgData name="Ito Koichi" userId="7c59a57e28e385d5" providerId="LiveId" clId="{7BE1A0C3-347C-9343-AD50-5497B70087AB}" dt="2022-02-07T05:35:14.187" v="9609" actId="478"/>
          <ac:picMkLst>
            <pc:docMk/>
            <pc:sldMk cId="674571283" sldId="349"/>
            <ac:picMk id="3" creationId="{C4ED4201-DB1A-0D49-9517-A0B97CBBC69D}"/>
          </ac:picMkLst>
        </pc:picChg>
        <pc:picChg chg="del">
          <ac:chgData name="Ito Koichi" userId="7c59a57e28e385d5" providerId="LiveId" clId="{7BE1A0C3-347C-9343-AD50-5497B70087AB}" dt="2022-02-07T05:33:59.254" v="9594" actId="478"/>
          <ac:picMkLst>
            <pc:docMk/>
            <pc:sldMk cId="674571283" sldId="349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43:28.163" v="9658" actId="1076"/>
          <ac:picMkLst>
            <pc:docMk/>
            <pc:sldMk cId="674571283" sldId="349"/>
            <ac:picMk id="7" creationId="{94D79045-2E0D-DF4E-88DF-C0C3FE1EBD7D}"/>
          </ac:picMkLst>
        </pc:picChg>
        <pc:picChg chg="del">
          <ac:chgData name="Ito Koichi" userId="7c59a57e28e385d5" providerId="LiveId" clId="{7BE1A0C3-347C-9343-AD50-5497B70087AB}" dt="2022-02-07T05:34:41.169" v="9602" actId="478"/>
          <ac:picMkLst>
            <pc:docMk/>
            <pc:sldMk cId="674571283" sldId="349"/>
            <ac:picMk id="9" creationId="{871B1632-2B1C-BC4A-8A8D-780B3DB933E9}"/>
          </ac:picMkLst>
        </pc:picChg>
        <pc:picChg chg="add mod modCrop">
          <ac:chgData name="Ito Koichi" userId="7c59a57e28e385d5" providerId="LiveId" clId="{7BE1A0C3-347C-9343-AD50-5497B70087AB}" dt="2022-02-07T05:43:31.439" v="9659" actId="1076"/>
          <ac:picMkLst>
            <pc:docMk/>
            <pc:sldMk cId="674571283" sldId="349"/>
            <ac:picMk id="10" creationId="{3194837F-B7CD-984E-A1DD-BD9AA0110E6C}"/>
          </ac:picMkLst>
        </pc:picChg>
        <pc:picChg chg="add mod modCrop">
          <ac:chgData name="Ito Koichi" userId="7c59a57e28e385d5" providerId="LiveId" clId="{7BE1A0C3-347C-9343-AD50-5497B70087AB}" dt="2022-02-07T05:43:59.041" v="9665" actId="732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Ito Koichi" userId="7c59a57e28e385d5" providerId="LiveId" clId="{7BE1A0C3-347C-9343-AD50-5497B70087AB}" dt="2022-02-07T05:43:49.693" v="9663" actId="14100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7:49:54.564" v="9921" actId="113"/>
        <pc:sldMkLst>
          <pc:docMk/>
          <pc:sldMk cId="1982333163" sldId="350"/>
        </pc:sldMkLst>
        <pc:spChg chg="mod">
          <ac:chgData name="Ito Koichi" userId="7c59a57e28e385d5" providerId="LiveId" clId="{7BE1A0C3-347C-9343-AD50-5497B70087AB}" dt="2022-02-07T05:42:34.440" v="9645"/>
          <ac:spMkLst>
            <pc:docMk/>
            <pc:sldMk cId="1982333163" sldId="35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7T06:17:13.893" v="9799" actId="21"/>
          <ac:spMkLst>
            <pc:docMk/>
            <pc:sldMk cId="1982333163" sldId="350"/>
            <ac:spMk id="11" creationId="{87034947-6739-CE46-ACDD-B8141D6C01F0}"/>
          </ac:spMkLst>
        </pc:spChg>
        <pc:spChg chg="add mod">
          <ac:chgData name="Ito Koichi" userId="7c59a57e28e385d5" providerId="LiveId" clId="{7BE1A0C3-347C-9343-AD50-5497B70087AB}" dt="2022-02-07T07:49:54.564" v="9921" actId="113"/>
          <ac:spMkLst>
            <pc:docMk/>
            <pc:sldMk cId="1982333163" sldId="350"/>
            <ac:spMk id="15" creationId="{CB3520D7-F296-4F49-B175-6DB1D2E2E349}"/>
          </ac:spMkLst>
        </pc:spChg>
        <pc:picChg chg="del">
          <ac:chgData name="Ito Koichi" userId="7c59a57e28e385d5" providerId="LiveId" clId="{7BE1A0C3-347C-9343-AD50-5497B70087AB}" dt="2022-02-07T05:35:04.049" v="9606" actId="478"/>
          <ac:picMkLst>
            <pc:docMk/>
            <pc:sldMk cId="1982333163" sldId="350"/>
            <ac:picMk id="3" creationId="{BB0B0B61-56DC-CA42-B549-FD5ADB80C689}"/>
          </ac:picMkLst>
        </pc:picChg>
        <pc:picChg chg="del">
          <ac:chgData name="Ito Koichi" userId="7c59a57e28e385d5" providerId="LiveId" clId="{7BE1A0C3-347C-9343-AD50-5497B70087AB}" dt="2022-02-07T05:36:01.499" v="9622" actId="478"/>
          <ac:picMkLst>
            <pc:docMk/>
            <pc:sldMk cId="1982333163" sldId="350"/>
            <ac:picMk id="6" creationId="{C872FDEB-E92A-594F-B60C-48214247227D}"/>
          </ac:picMkLst>
        </pc:picChg>
        <pc:picChg chg="add mod modCrop">
          <ac:chgData name="Ito Koichi" userId="7c59a57e28e385d5" providerId="LiveId" clId="{7BE1A0C3-347C-9343-AD50-5497B70087AB}" dt="2022-02-07T05:42:00.146" v="9643" actId="1076"/>
          <ac:picMkLst>
            <pc:docMk/>
            <pc:sldMk cId="1982333163" sldId="350"/>
            <ac:picMk id="7" creationId="{471B0276-88C1-9F42-9328-99C18D3CE2DB}"/>
          </ac:picMkLst>
        </pc:picChg>
        <pc:picChg chg="add mod modCrop">
          <ac:chgData name="Ito Koichi" userId="7c59a57e28e385d5" providerId="LiveId" clId="{7BE1A0C3-347C-9343-AD50-5497B70087AB}" dt="2022-02-07T05:36:43.860" v="9634" actId="1076"/>
          <ac:picMkLst>
            <pc:docMk/>
            <pc:sldMk cId="1982333163" sldId="350"/>
            <ac:picMk id="9" creationId="{C3B9E6DC-88BE-664C-A4F2-4723C038C869}"/>
          </ac:picMkLst>
        </pc:picChg>
        <pc:picChg chg="add mod modCrop">
          <ac:chgData name="Ito Koichi" userId="7c59a57e28e385d5" providerId="LiveId" clId="{7BE1A0C3-347C-9343-AD50-5497B70087AB}" dt="2022-02-07T05:37:15.566" v="9640" actId="1076"/>
          <ac:picMkLst>
            <pc:docMk/>
            <pc:sldMk cId="1982333163" sldId="350"/>
            <ac:picMk id="10" creationId="{1878CC8E-5043-D746-A1E5-9EB476B569FC}"/>
          </ac:picMkLst>
        </pc:picChg>
        <pc:picChg chg="del">
          <ac:chgData name="Ito Koichi" userId="7c59a57e28e385d5" providerId="LiveId" clId="{7BE1A0C3-347C-9343-AD50-5497B70087AB}" dt="2022-02-07T05:36:41.715" v="9633" actId="478"/>
          <ac:picMkLst>
            <pc:docMk/>
            <pc:sldMk cId="1982333163" sldId="350"/>
            <ac:picMk id="12" creationId="{5D0FD201-EFB7-814F-99E9-21CBA0BA052E}"/>
          </ac:picMkLst>
        </pc:picChg>
        <pc:picChg chg="del">
          <ac:chgData name="Ito Koichi" userId="7c59a57e28e385d5" providerId="LiveId" clId="{7BE1A0C3-347C-9343-AD50-5497B70087AB}" dt="2022-02-07T05:37:06.654" v="9639" actId="478"/>
          <ac:picMkLst>
            <pc:docMk/>
            <pc:sldMk cId="1982333163" sldId="350"/>
            <ac:picMk id="14" creationId="{35D3B78E-D921-4746-8666-F07E734E0953}"/>
          </ac:picMkLst>
        </pc:picChg>
      </pc:sldChg>
      <pc:sldChg chg="addSp delSp modSp add del mod">
        <pc:chgData name="Ito Koichi" userId="7c59a57e28e385d5" providerId="LiveId" clId="{7BE1A0C3-347C-9343-AD50-5497B70087AB}" dt="2022-02-07T06:18:09.286" v="9832" actId="2696"/>
        <pc:sldMkLst>
          <pc:docMk/>
          <pc:sldMk cId="3716336217" sldId="351"/>
        </pc:sldMkLst>
        <pc:spChg chg="mod">
          <ac:chgData name="Ito Koichi" userId="7c59a57e28e385d5" providerId="LiveId" clId="{7BE1A0C3-347C-9343-AD50-5497B70087AB}" dt="2022-02-07T05:46:02.087" v="9692" actId="20577"/>
          <ac:spMkLst>
            <pc:docMk/>
            <pc:sldMk cId="3716336217" sldId="35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1:40.414" v="9718" actId="478"/>
          <ac:spMkLst>
            <pc:docMk/>
            <pc:sldMk cId="3716336217" sldId="351"/>
            <ac:spMk id="13" creationId="{0B0103E5-0A96-7C44-A589-FB060215E84A}"/>
          </ac:spMkLst>
        </pc:spChg>
        <pc:spChg chg="del">
          <ac:chgData name="Ito Koichi" userId="7c59a57e28e385d5" providerId="LiveId" clId="{7BE1A0C3-347C-9343-AD50-5497B70087AB}" dt="2022-02-07T05:50:45.958" v="9707" actId="478"/>
          <ac:spMkLst>
            <pc:docMk/>
            <pc:sldMk cId="3716336217" sldId="351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51:05.405" v="9711" actId="1076"/>
          <ac:picMkLst>
            <pc:docMk/>
            <pc:sldMk cId="3716336217" sldId="351"/>
            <ac:picMk id="3" creationId="{09479DC5-C1B0-754F-AD21-A6107DFD3D1F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51:38.291" v="9717" actId="1076"/>
          <ac:picMkLst>
            <pc:docMk/>
            <pc:sldMk cId="3716336217" sldId="351"/>
            <ac:picMk id="7" creationId="{8E156BAA-BEBF-4744-B863-2D4198067629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9" creationId="{871B1632-2B1C-BC4A-8A8D-780B3DB933E9}"/>
          </ac:picMkLst>
        </pc:picChg>
      </pc:sldChg>
      <pc:sldChg chg="addSp delSp modSp add mod">
        <pc:chgData name="Ito Koichi" userId="7c59a57e28e385d5" providerId="LiveId" clId="{7BE1A0C3-347C-9343-AD50-5497B70087AB}" dt="2022-02-07T06:05:51.973" v="9782"/>
        <pc:sldMkLst>
          <pc:docMk/>
          <pc:sldMk cId="178818183" sldId="352"/>
        </pc:sldMkLst>
        <pc:spChg chg="mod">
          <ac:chgData name="Ito Koichi" userId="7c59a57e28e385d5" providerId="LiveId" clId="{7BE1A0C3-347C-9343-AD50-5497B70087AB}" dt="2022-02-07T05:52:20.188" v="9722" actId="20577"/>
          <ac:spMkLst>
            <pc:docMk/>
            <pc:sldMk cId="178818183" sldId="352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3:03.945" v="9723" actId="478"/>
          <ac:spMkLst>
            <pc:docMk/>
            <pc:sldMk cId="178818183" sldId="352"/>
            <ac:spMk id="11" creationId="{87034947-6739-CE46-ACDD-B8141D6C01F0}"/>
          </ac:spMkLst>
        </pc:sp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3" creationId="{D3538396-AD15-E945-BBFA-CD4E4E7B13F8}"/>
          </ac:picMkLst>
        </pc:picChg>
        <pc:picChg chg="add mod modCrop">
          <ac:chgData name="Ito Koichi" userId="7c59a57e28e385d5" providerId="LiveId" clId="{7BE1A0C3-347C-9343-AD50-5497B70087AB}" dt="2022-02-07T06:03:22.448" v="9762" actId="1076"/>
          <ac:picMkLst>
            <pc:docMk/>
            <pc:sldMk cId="178818183" sldId="352"/>
            <ac:picMk id="6" creationId="{1084ABA2-2181-3648-9F0B-25AC2293665C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7" creationId="{471B0276-88C1-9F42-9328-99C18D3CE2DB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9" creationId="{C3B9E6DC-88BE-664C-A4F2-4723C038C869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10" creationId="{1878CC8E-5043-D746-A1E5-9EB476B569FC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2" creationId="{66C39BFB-3FAF-AA43-A4D6-2220E2B2DE78}"/>
          </ac:picMkLst>
        </pc:picChg>
        <pc:picChg chg="add del mod">
          <ac:chgData name="Ito Koichi" userId="7c59a57e28e385d5" providerId="LiveId" clId="{7BE1A0C3-347C-9343-AD50-5497B70087AB}" dt="2022-02-07T05:54:35.039" v="9745" actId="478"/>
          <ac:picMkLst>
            <pc:docMk/>
            <pc:sldMk cId="178818183" sldId="352"/>
            <ac:picMk id="14" creationId="{226AC34B-5910-0942-B837-67506C49D0B2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5" creationId="{725801DA-FA7E-F941-8B12-D27E2205D87E}"/>
          </ac:picMkLst>
        </pc:picChg>
        <pc:cxnChg chg="add mod">
          <ac:chgData name="Ito Koichi" userId="7c59a57e28e385d5" providerId="LiveId" clId="{7BE1A0C3-347C-9343-AD50-5497B70087AB}" dt="2022-02-07T06:03:55.699" v="9771" actId="1076"/>
          <ac:cxnSpMkLst>
            <pc:docMk/>
            <pc:sldMk cId="178818183" sldId="352"/>
            <ac:cxnSpMk id="17" creationId="{14AF3FB8-F890-6D42-816B-3D9B43589794}"/>
          </ac:cxnSpMkLst>
        </pc:cxnChg>
        <pc:cxnChg chg="add mod">
          <ac:chgData name="Ito Koichi" userId="7c59a57e28e385d5" providerId="LiveId" clId="{7BE1A0C3-347C-9343-AD50-5497B70087AB}" dt="2022-02-07T06:04:27.236" v="9777" actId="14100"/>
          <ac:cxnSpMkLst>
            <pc:docMk/>
            <pc:sldMk cId="178818183" sldId="352"/>
            <ac:cxnSpMk id="23" creationId="{7C71261E-C6E6-AE47-9804-DBF1D7A096A6}"/>
          </ac:cxnSpMkLst>
        </pc:cxnChg>
        <pc:cxnChg chg="add mod">
          <ac:chgData name="Ito Koichi" userId="7c59a57e28e385d5" providerId="LiveId" clId="{7BE1A0C3-347C-9343-AD50-5497B70087AB}" dt="2022-02-07T06:04:48.671" v="9780" actId="1076"/>
          <ac:cxnSpMkLst>
            <pc:docMk/>
            <pc:sldMk cId="178818183" sldId="352"/>
            <ac:cxnSpMk id="28" creationId="{2FECBD36-FE2C-4C43-8E77-41D47E851736}"/>
          </ac:cxnSpMkLst>
        </pc:cxnChg>
        <pc:cxnChg chg="add del mod">
          <ac:chgData name="Ito Koichi" userId="7c59a57e28e385d5" providerId="LiveId" clId="{7BE1A0C3-347C-9343-AD50-5497B70087AB}" dt="2022-02-07T06:05:51.973" v="9782"/>
          <ac:cxnSpMkLst>
            <pc:docMk/>
            <pc:sldMk cId="178818183" sldId="352"/>
            <ac:cxnSpMk id="29" creationId="{8DE26C4D-89F8-264A-A0D8-05B1E9A0D976}"/>
          </ac:cxnSpMkLst>
        </pc:cxnChg>
      </pc:sldChg>
      <pc:sldChg chg="addSp delSp modSp add mod">
        <pc:chgData name="Ito Koichi" userId="7c59a57e28e385d5" providerId="LiveId" clId="{7BE1A0C3-347C-9343-AD50-5497B70087AB}" dt="2022-02-07T06:17:36.639" v="9830" actId="20577"/>
        <pc:sldMkLst>
          <pc:docMk/>
          <pc:sldMk cId="1568504011" sldId="353"/>
        </pc:sldMkLst>
        <pc:spChg chg="add mod">
          <ac:chgData name="Ito Koichi" userId="7c59a57e28e385d5" providerId="LiveId" clId="{7BE1A0C3-347C-9343-AD50-5497B70087AB}" dt="2022-02-07T06:17:36.639" v="9830" actId="20577"/>
          <ac:spMkLst>
            <pc:docMk/>
            <pc:sldMk cId="1568504011" sldId="353"/>
            <ac:spMk id="11" creationId="{B61E0229-3199-9344-BF2B-60EDF6425AEA}"/>
          </ac:spMkLst>
        </pc:sp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6:11.169" v="9796" actId="1076"/>
          <ac:picMkLst>
            <pc:docMk/>
            <pc:sldMk cId="1568504011" sldId="353"/>
            <ac:picMk id="6" creationId="{BE97124A-467D-DF48-8038-5F6A0F3268F0}"/>
          </ac:picMkLst>
        </pc:pic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6:13.197" v="9797" actId="1076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Ito Koichi" userId="7c59a57e28e385d5" providerId="LiveId" clId="{7BE1A0C3-347C-9343-AD50-5497B70087AB}" dt="2022-02-07T06:17:07.861" v="9798" actId="14100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6:20:06.433" v="9898" actId="1076"/>
        <pc:sldMkLst>
          <pc:docMk/>
          <pc:sldMk cId="1119758586" sldId="354"/>
        </pc:sldMkLst>
        <pc:spChg chg="add mod">
          <ac:chgData name="Ito Koichi" userId="7c59a57e28e385d5" providerId="LiveId" clId="{7BE1A0C3-347C-9343-AD50-5497B70087AB}" dt="2022-02-07T06:19:57.968" v="9881" actId="20577"/>
          <ac:spMkLst>
            <pc:docMk/>
            <pc:sldMk cId="1119758586" sldId="354"/>
            <ac:spMk id="10" creationId="{79B4B046-2717-BC49-8B46-065F25441815}"/>
          </ac:spMkLst>
        </pc:spChg>
        <pc:spChg chg="add mod">
          <ac:chgData name="Ito Koichi" userId="7c59a57e28e385d5" providerId="LiveId" clId="{7BE1A0C3-347C-9343-AD50-5497B70087AB}" dt="2022-02-07T06:20:06.433" v="9898" actId="1076"/>
          <ac:spMkLst>
            <pc:docMk/>
            <pc:sldMk cId="1119758586" sldId="354"/>
            <ac:spMk id="11" creationId="{68FA2B16-6406-3740-A34F-51D31A2E7A46}"/>
          </ac:spMkLst>
        </pc:spChg>
        <pc:picChg chg="del mod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9:23.835" v="9853" actId="1076"/>
          <ac:picMkLst>
            <pc:docMk/>
            <pc:sldMk cId="1119758586" sldId="354"/>
            <ac:picMk id="6" creationId="{A0076FEA-26F3-C142-BBFD-F3E39D6B7A76}"/>
          </ac:picMkLst>
        </pc:picChg>
        <pc:picChg chg="del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9:26.988" v="9854" actId="1076"/>
          <ac:picMkLst>
            <pc:docMk/>
            <pc:sldMk cId="1119758586" sldId="354"/>
            <ac:picMk id="9" creationId="{8F0709DE-BE71-804E-854A-2D6D326511AE}"/>
          </ac:picMkLst>
        </pc:picChg>
      </pc:sldChg>
      <pc:sldChg chg="addSp modSp new mod ord">
        <pc:chgData name="Ito Koichi" userId="7c59a57e28e385d5" providerId="LiveId" clId="{7BE1A0C3-347C-9343-AD50-5497B70087AB}" dt="2022-03-01T06:39:46.956" v="10042" actId="20577"/>
        <pc:sldMkLst>
          <pc:docMk/>
          <pc:sldMk cId="3906402260" sldId="355"/>
        </pc:sldMkLst>
        <pc:spChg chg="mod">
          <ac:chgData name="Ito Koichi" userId="7c59a57e28e385d5" providerId="LiveId" clId="{7BE1A0C3-347C-9343-AD50-5497B70087AB}" dt="2022-03-01T06:39:46.956" v="10042" actId="20577"/>
          <ac:spMkLst>
            <pc:docMk/>
            <pc:sldMk cId="3906402260" sldId="355"/>
            <ac:spMk id="2" creationId="{9F8FAFFF-A32B-7742-BCFF-5F4489091338}"/>
          </ac:spMkLst>
        </pc:spChg>
        <pc:spChg chg="add mod">
          <ac:chgData name="Ito Koichi" userId="7c59a57e28e385d5" providerId="LiveId" clId="{7BE1A0C3-347C-9343-AD50-5497B70087AB}" dt="2022-03-01T06:39:13.210" v="10038" actId="20577"/>
          <ac:spMkLst>
            <pc:docMk/>
            <pc:sldMk cId="3906402260" sldId="355"/>
            <ac:spMk id="6" creationId="{5AC4A862-8604-084F-87C9-D2FB4881AD21}"/>
          </ac:spMkLst>
        </pc:spChg>
        <pc:picChg chg="add mod">
          <ac:chgData name="Ito Koichi" userId="7c59a57e28e385d5" providerId="LiveId" clId="{7BE1A0C3-347C-9343-AD50-5497B70087AB}" dt="2022-03-01T06:39:29.651" v="10039" actId="14826"/>
          <ac:picMkLst>
            <pc:docMk/>
            <pc:sldMk cId="3906402260" sldId="355"/>
            <ac:picMk id="7" creationId="{35239896-8C8B-C940-9746-727D98557092}"/>
          </ac:picMkLst>
        </pc:picChg>
      </pc:sldChg>
      <pc:sldChg chg="addSp delSp modSp add mod">
        <pc:chgData name="Ito Koichi" userId="7c59a57e28e385d5" providerId="LiveId" clId="{7BE1A0C3-347C-9343-AD50-5497B70087AB}" dt="2022-03-01T07:13:14.708" v="10247" actId="20577"/>
        <pc:sldMkLst>
          <pc:docMk/>
          <pc:sldMk cId="3788053049" sldId="356"/>
        </pc:sldMkLst>
        <pc:spChg chg="mod">
          <ac:chgData name="Ito Koichi" userId="7c59a57e28e385d5" providerId="LiveId" clId="{7BE1A0C3-347C-9343-AD50-5497B70087AB}" dt="2022-03-01T06:39:53.297" v="10045" actId="20577"/>
          <ac:spMkLst>
            <pc:docMk/>
            <pc:sldMk cId="3788053049" sldId="35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3-01T06:50:01.855" v="10052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3-01T07:13:14.708" v="10247" actId="20577"/>
          <ac:spMkLst>
            <pc:docMk/>
            <pc:sldMk cId="3788053049" sldId="356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3-01T07:11:02.361" v="10147" actId="1076"/>
          <ac:picMkLst>
            <pc:docMk/>
            <pc:sldMk cId="3788053049" sldId="356"/>
            <ac:picMk id="6" creationId="{F07AA498-D4F8-0B4A-A126-7FE4B0ADBEBD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3-01T07:10:55.527" v="10146" actId="1076"/>
          <ac:picMkLst>
            <pc:docMk/>
            <pc:sldMk cId="3788053049" sldId="356"/>
            <ac:picMk id="12" creationId="{79006372-0ED1-9D40-8D34-DE6795EF0BAC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3-01T07:09:31.805" v="10126" actId="478"/>
          <ac:picMkLst>
            <pc:docMk/>
            <pc:sldMk cId="3788053049" sldId="356"/>
            <ac:picMk id="15" creationId="{592017E5-5CD5-FE49-9EEB-3EF6FE972D08}"/>
          </ac:picMkLst>
        </pc:picChg>
        <pc:picChg chg="add mod">
          <ac:chgData name="Ito Koichi" userId="7c59a57e28e385d5" providerId="LiveId" clId="{7BE1A0C3-347C-9343-AD50-5497B70087AB}" dt="2022-03-01T07:10:46.777" v="10144" actId="1076"/>
          <ac:picMkLst>
            <pc:docMk/>
            <pc:sldMk cId="3788053049" sldId="356"/>
            <ac:picMk id="16" creationId="{BA1484B0-177D-354E-9E22-785AE74C550D}"/>
          </ac:picMkLst>
        </pc:picChg>
        <pc:picChg chg="add mod">
          <ac:chgData name="Ito Koichi" userId="7c59a57e28e385d5" providerId="LiveId" clId="{7BE1A0C3-347C-9343-AD50-5497B70087AB}" dt="2022-03-01T07:10:51.961" v="10145" actId="1076"/>
          <ac:picMkLst>
            <pc:docMk/>
            <pc:sldMk cId="3788053049" sldId="356"/>
            <ac:picMk id="18" creationId="{21612D00-A418-D043-ADDF-AF0CD4BACBC7}"/>
          </ac:picMkLst>
        </pc:picChg>
      </pc:sldChg>
      <pc:sldChg chg="addSp delSp modSp add mod">
        <pc:chgData name="Ito Koichi" userId="7c59a57e28e385d5" providerId="LiveId" clId="{7BE1A0C3-347C-9343-AD50-5497B70087AB}" dt="2022-03-01T07:18:49.593" v="10336" actId="1076"/>
        <pc:sldMkLst>
          <pc:docMk/>
          <pc:sldMk cId="3230501836" sldId="357"/>
        </pc:sldMkLst>
        <pc:spChg chg="mod">
          <ac:chgData name="Ito Koichi" userId="7c59a57e28e385d5" providerId="LiveId" clId="{7BE1A0C3-347C-9343-AD50-5497B70087AB}" dt="2022-03-01T07:17:36.878" v="10322" actId="20577"/>
          <ac:spMkLst>
            <pc:docMk/>
            <pc:sldMk cId="3230501836" sldId="357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3-01T07:13:47.250" v="10259" actId="478"/>
          <ac:spMkLst>
            <pc:docMk/>
            <pc:sldMk cId="3230501836" sldId="357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3-01T07:17:54.530" v="10323"/>
          <ac:spMkLst>
            <pc:docMk/>
            <pc:sldMk cId="3230501836" sldId="357"/>
            <ac:spMk id="17" creationId="{BEFC5A31-4B1C-6946-A80F-80A473062872}"/>
          </ac:spMkLst>
        </pc:sp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6" creationId="{F07AA498-D4F8-0B4A-A126-7FE4B0ADBEBD}"/>
          </ac:picMkLst>
        </pc:picChg>
        <pc:picChg chg="add mod">
          <ac:chgData name="Ito Koichi" userId="7c59a57e28e385d5" providerId="LiveId" clId="{7BE1A0C3-347C-9343-AD50-5497B70087AB}" dt="2022-03-01T07:17:21.528" v="10277" actId="1076"/>
          <ac:picMkLst>
            <pc:docMk/>
            <pc:sldMk cId="3230501836" sldId="357"/>
            <ac:picMk id="10" creationId="{11B14229-684B-E640-8FCA-2EF6BF364058}"/>
          </ac:picMkLst>
        </pc:pic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12" creationId="{79006372-0ED1-9D40-8D34-DE6795EF0BAC}"/>
          </ac:picMkLst>
        </pc:picChg>
        <pc:picChg chg="add mod">
          <ac:chgData name="Ito Koichi" userId="7c59a57e28e385d5" providerId="LiveId" clId="{7BE1A0C3-347C-9343-AD50-5497B70087AB}" dt="2022-03-01T07:17:18.276" v="10276" actId="1076"/>
          <ac:picMkLst>
            <pc:docMk/>
            <pc:sldMk cId="3230501836" sldId="357"/>
            <ac:picMk id="13" creationId="{3D6119F0-25C0-294F-B3CF-F45D9E956183}"/>
          </ac:picMkLst>
        </pc:picChg>
        <pc:picChg chg="add mod">
          <ac:chgData name="Ito Koichi" userId="7c59a57e28e385d5" providerId="LiveId" clId="{7BE1A0C3-347C-9343-AD50-5497B70087AB}" dt="2022-03-01T07:18:49.593" v="10336" actId="1076"/>
          <ac:picMkLst>
            <pc:docMk/>
            <pc:sldMk cId="3230501836" sldId="357"/>
            <ac:picMk id="15" creationId="{2359F221-2841-9644-ACDA-440C4AABBF3E}"/>
          </ac:picMkLst>
        </pc:picChg>
        <pc:picChg chg="del">
          <ac:chgData name="Ito Koichi" userId="7c59a57e28e385d5" providerId="LiveId" clId="{7BE1A0C3-347C-9343-AD50-5497B70087AB}" dt="2022-03-01T07:13:48.808" v="10260" actId="478"/>
          <ac:picMkLst>
            <pc:docMk/>
            <pc:sldMk cId="3230501836" sldId="357"/>
            <ac:picMk id="16" creationId="{BA1484B0-177D-354E-9E22-785AE74C550D}"/>
          </ac:picMkLst>
        </pc:picChg>
        <pc:picChg chg="del">
          <ac:chgData name="Ito Koichi" userId="7c59a57e28e385d5" providerId="LiveId" clId="{7BE1A0C3-347C-9343-AD50-5497B70087AB}" dt="2022-03-01T07:13:50.389" v="10261" actId="478"/>
          <ac:picMkLst>
            <pc:docMk/>
            <pc:sldMk cId="3230501836" sldId="357"/>
            <ac:picMk id="18" creationId="{21612D00-A418-D043-ADDF-AF0CD4BACBC7}"/>
          </ac:picMkLst>
        </pc:picChg>
        <pc:picChg chg="add del mod">
          <ac:chgData name="Ito Koichi" userId="7c59a57e28e385d5" providerId="LiveId" clId="{7BE1A0C3-347C-9343-AD50-5497B70087AB}" dt="2022-03-01T07:18:01.679" v="10324" actId="478"/>
          <ac:picMkLst>
            <pc:docMk/>
            <pc:sldMk cId="3230501836" sldId="357"/>
            <ac:picMk id="19" creationId="{44DF4052-6F14-534D-855C-902CF4B4A4A3}"/>
          </ac:picMkLst>
        </pc:picChg>
      </pc:sldChg>
      <pc:sldChg chg="modSp add mod">
        <pc:chgData name="Ito Koichi" userId="7c59a57e28e385d5" providerId="LiveId" clId="{7BE1A0C3-347C-9343-AD50-5497B70087AB}" dt="2022-03-15T03:00:01.039" v="10346" actId="20577"/>
        <pc:sldMkLst>
          <pc:docMk/>
          <pc:sldMk cId="1632203755" sldId="368"/>
        </pc:sldMkLst>
        <pc:spChg chg="mod">
          <ac:chgData name="Ito Koichi" userId="7c59a57e28e385d5" providerId="LiveId" clId="{7BE1A0C3-347C-9343-AD50-5497B70087AB}" dt="2022-03-15T03:00:01.039" v="10346" actId="20577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72E582F2-82CE-40D5-2CD5-7C443CC4E022}"/>
    <pc:docChg chg="addSld delSld modSld sldOrd">
      <pc:chgData name="Revocatus Washington Paul" userId="S::catuspaul_gmail.com#ext#@worldbankgroup.onmicrosoft.com::b13f5400-0b53-417f-9ea3-8ee32bb124d8" providerId="AD" clId="Web-{72E582F2-82CE-40D5-2CD5-7C443CC4E022}" dt="2022-03-03T17:09:09.393" v="224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72E582F2-82CE-40D5-2CD5-7C443CC4E022}" dt="2022-03-03T16:50:02.927" v="177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50:02.927" v="177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ord">
        <pc:chgData name="Revocatus Washington Paul" userId="S::catuspaul_gmail.com#ext#@worldbankgroup.onmicrosoft.com::b13f5400-0b53-417f-9ea3-8ee32bb124d8" providerId="AD" clId="Web-{72E582F2-82CE-40D5-2CD5-7C443CC4E022}" dt="2022-03-03T16:46:54.805" v="141" actId="20577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6:54.805" v="141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ord">
        <pc:chgData name="Revocatus Washington Paul" userId="S::catuspaul_gmail.com#ext#@worldbankgroup.onmicrosoft.com::b13f5400-0b53-417f-9ea3-8ee32bb124d8" providerId="AD" clId="Web-{72E582F2-82CE-40D5-2CD5-7C443CC4E022}" dt="2022-03-03T16:46:20.303" v="139"/>
        <pc:sldMkLst>
          <pc:docMk/>
          <pc:sldMk cId="3961101582" sldId="260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32.112" v="109"/>
          <ac:spMkLst>
            <pc:docMk/>
            <pc:sldMk cId="3961101582" sldId="260"/>
            <ac:spMk id="3" creationId="{E3DF1DD6-114A-4029-913A-5D71A524F07D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72E582F2-82CE-40D5-2CD5-7C443CC4E022}" dt="2022-03-03T16:48:54.735" v="154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7:37.355" v="150" actId="20577"/>
          <ac:spMkLst>
            <pc:docMk/>
            <pc:sldMk cId="553589282" sldId="261"/>
            <ac:spMk id="2" creationId="{E01226A3-FD12-4BA7-ABF5-9D40868807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65" v="142"/>
          <ac:spMkLst>
            <pc:docMk/>
            <pc:sldMk cId="553589282" sldId="261"/>
            <ac:spMk id="3" creationId="{3EE0DA0E-4180-4226-A6C5-B8C9859EB37D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54.735" v="154"/>
          <ac:spMkLst>
            <pc:docMk/>
            <pc:sldMk cId="553589282" sldId="261"/>
            <ac:spMk id="4" creationId="{1EE6E14C-DFEC-4A41-972C-3C099E1C11EF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80" v="143"/>
          <ac:spMkLst>
            <pc:docMk/>
            <pc:sldMk cId="553589282" sldId="261"/>
            <ac:spMk id="5" creationId="{690978AD-00A2-4582-B389-CFB3FB3E3D1D}"/>
          </ac:spMkLst>
        </pc:spChg>
      </pc:sldChg>
      <pc:sldChg chg="addSp delSp modSp new del">
        <pc:chgData name="Revocatus Washington Paul" userId="S::catuspaul_gmail.com#ext#@worldbankgroup.onmicrosoft.com::b13f5400-0b53-417f-9ea3-8ee32bb124d8" providerId="AD" clId="Web-{72E582F2-82CE-40D5-2CD5-7C443CC4E022}" dt="2022-03-03T16:45:39.316" v="137"/>
        <pc:sldMkLst>
          <pc:docMk/>
          <pc:sldMk cId="2649633961" sldId="358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5.737" v="76"/>
          <ac:spMkLst>
            <pc:docMk/>
            <pc:sldMk cId="2649633961" sldId="358"/>
            <ac:spMk id="2" creationId="{8C7E8FFB-7631-4179-9CD9-EE6A38AAB7CF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3.221" v="75"/>
          <ac:spMkLst>
            <pc:docMk/>
            <pc:sldMk cId="2649633961" sldId="358"/>
            <ac:spMk id="3" creationId="{C3D6A7B0-4B7A-496C-BA77-14EC3D9DC26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4.999" v="73"/>
          <ac:spMkLst>
            <pc:docMk/>
            <pc:sldMk cId="2649633961" sldId="358"/>
            <ac:spMk id="4" creationId="{413F28F7-9019-47BA-9E49-3B517B619CD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46.265" v="74"/>
          <ac:spMkLst>
            <pc:docMk/>
            <pc:sldMk cId="2649633961" sldId="358"/>
            <ac:spMk id="5" creationId="{6420188E-93C4-46DE-8D94-CCBE617DA56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2.921" v="72"/>
          <ac:spMkLst>
            <pc:docMk/>
            <pc:sldMk cId="2649633961" sldId="358"/>
            <ac:spMk id="6" creationId="{5B82A075-9A3D-4340-8CB5-D43CC4D15B2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0.592" v="71"/>
          <ac:spMkLst>
            <pc:docMk/>
            <pc:sldMk cId="2649633961" sldId="358"/>
            <ac:spMk id="7" creationId="{46780F7C-1A17-43DE-A4E4-F42AFE07BBEA}"/>
          </ac:spMkLst>
        </pc:spChg>
        <pc:spChg chg="add del mod">
          <ac:chgData name="Revocatus Washington Paul" userId="S::catuspaul_gmail.com#ext#@worldbankgroup.onmicrosoft.com::b13f5400-0b53-417f-9ea3-8ee32bb124d8" providerId="AD" clId="Web-{72E582F2-82CE-40D5-2CD5-7C443CC4E022}" dt="2022-03-03T16:44:26.983" v="70"/>
          <ac:spMkLst>
            <pc:docMk/>
            <pc:sldMk cId="2649633961" sldId="358"/>
            <ac:spMk id="8" creationId="{26667F35-B906-4D4E-AC17-BEF99DDC7BCB}"/>
          </ac:spMkLst>
        </pc:spChg>
      </pc:sldChg>
      <pc:sldChg chg="add replId">
        <pc:chgData name="Revocatus Washington Paul" userId="S::catuspaul_gmail.com#ext#@worldbankgroup.onmicrosoft.com::b13f5400-0b53-417f-9ea3-8ee32bb124d8" providerId="AD" clId="Web-{72E582F2-82CE-40D5-2CD5-7C443CC4E022}" dt="2022-03-03T16:47:13.525" v="144"/>
        <pc:sldMkLst>
          <pc:docMk/>
          <pc:sldMk cId="3918405635" sldId="358"/>
        </pc:sldMkLst>
      </pc:sldChg>
      <pc:sldChg chg="addSp delSp modSp new ord">
        <pc:chgData name="Revocatus Washington Paul" userId="S::catuspaul_gmail.com#ext#@worldbankgroup.onmicrosoft.com::b13f5400-0b53-417f-9ea3-8ee32bb124d8" providerId="AD" clId="Web-{72E582F2-82CE-40D5-2CD5-7C443CC4E022}" dt="2022-03-03T17:04:15.014" v="222"/>
        <pc:sldMkLst>
          <pc:docMk/>
          <pc:sldMk cId="2379308332" sldId="359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09" v="152"/>
          <ac:spMkLst>
            <pc:docMk/>
            <pc:sldMk cId="2379308332" sldId="359"/>
            <ac:spMk id="2" creationId="{54D4E737-8C8C-4B58-A2BD-8A1CDD76A6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25" v="153"/>
          <ac:spMkLst>
            <pc:docMk/>
            <pc:sldMk cId="2379308332" sldId="359"/>
            <ac:spMk id="3" creationId="{A85CC67D-D0F8-455D-98C5-F48081758349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6:59:04.744" v="205" actId="1076"/>
          <ac:picMkLst>
            <pc:docMk/>
            <pc:sldMk cId="2379308332" sldId="359"/>
            <ac:picMk id="6" creationId="{503F0F58-E7D7-470D-9814-240172827E43}"/>
          </ac:picMkLst>
        </pc:picChg>
        <pc:picChg chg="add del mod">
          <ac:chgData name="Revocatus Washington Paul" userId="S::catuspaul_gmail.com#ext#@worldbankgroup.onmicrosoft.com::b13f5400-0b53-417f-9ea3-8ee32bb124d8" providerId="AD" clId="Web-{72E582F2-82CE-40D5-2CD5-7C443CC4E022}" dt="2022-03-03T16:58:46.914" v="199"/>
          <ac:picMkLst>
            <pc:docMk/>
            <pc:sldMk cId="2379308332" sldId="359"/>
            <ac:picMk id="7" creationId="{66989DAE-D9BF-4C9F-BD55-88F2FE005AF9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72E582F2-82CE-40D5-2CD5-7C443CC4E022}" dt="2022-03-03T17:05:54.349" v="223" actId="1076"/>
        <pc:sldMkLst>
          <pc:docMk/>
          <pc:sldMk cId="3176795038" sldId="360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16" v="207"/>
          <ac:spMkLst>
            <pc:docMk/>
            <pc:sldMk cId="3176795038" sldId="360"/>
            <ac:spMk id="2" creationId="{E4DABABB-9571-44FB-99B1-EBE4FAAAF520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31" v="208"/>
          <ac:spMkLst>
            <pc:docMk/>
            <pc:sldMk cId="3176795038" sldId="360"/>
            <ac:spMk id="3" creationId="{8A8D950E-7185-4507-B07B-3A68006BF86A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7:05:54.349" v="223" actId="1076"/>
          <ac:picMkLst>
            <pc:docMk/>
            <pc:sldMk cId="3176795038" sldId="360"/>
            <ac:picMk id="6" creationId="{7C2CB570-81A5-4144-96AC-E2F778DC6CB2}"/>
          </ac:picMkLst>
        </pc:picChg>
      </pc:sldChg>
      <pc:sldChg chg="new">
        <pc:chgData name="Revocatus Washington Paul" userId="S::catuspaul_gmail.com#ext#@worldbankgroup.onmicrosoft.com::b13f5400-0b53-417f-9ea3-8ee32bb124d8" providerId="AD" clId="Web-{72E582F2-82CE-40D5-2CD5-7C443CC4E022}" dt="2022-03-03T17:09:09.393" v="224"/>
        <pc:sldMkLst>
          <pc:docMk/>
          <pc:sldMk cId="3425921230" sldId="361"/>
        </pc:sldMkLst>
      </pc:sldChg>
    </pc:docChg>
  </pc:docChgLst>
  <pc:docChgLst>
    <pc:chgData name="Revocatus Washington Paul" userId="S::catuspaul_gmail.com#ext#@worldbankgroup.onmicrosoft.com::b13f5400-0b53-417f-9ea3-8ee32bb124d8" providerId="AD" clId="Web-{29CE35AD-7F79-C327-7C99-E1DC353A2929}"/>
    <pc:docChg chg="modSld">
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29CE35AD-7F79-C327-7C99-E1DC353A2929}" dt="2022-03-02T08:40:55.579" v="4" actId="20577"/>
          <ac:spMkLst>
            <pc:docMk/>
            <pc:sldMk cId="417170624" sldId="322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29CE35AD-7F79-C327-7C99-E1DC353A2929}" dt="2022-03-02T08:41:01.533" v="11" actId="20577"/>
          <ac:spMkLst>
            <pc:docMk/>
            <pc:sldMk cId="417170624" sldId="322"/>
            <ac:spMk id="9" creationId="{79F9DC4F-41D5-0F4D-881B-2B30DE10BD2A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9BB967E0-27F7-F8DF-93D3-B92D76EE3C45}"/>
    <pc:docChg chg="modSld">
      <pc:chgData name="Koichi Ito" userId="S::koichi19960406_gmail.com#ext#@worldbankgroup.onmicrosoft.com::f9ef8c51-761c-4d11-abde-96febf25f02b" providerId="AD" clId="Web-{9BB967E0-27F7-F8DF-93D3-B92D76EE3C45}" dt="2022-03-28T06:52:43.574" v="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9BB967E0-27F7-F8DF-93D3-B92D76EE3C45}" dt="2022-03-28T06:52:43.574" v="0" actId="20577"/>
        <pc:sldMkLst>
          <pc:docMk/>
          <pc:sldMk cId="1401364146" sldId="328"/>
        </pc:sldMkLst>
        <pc:spChg chg="mod">
          <ac:chgData name="Koichi Ito" userId="S::koichi19960406_gmail.com#ext#@worldbankgroup.onmicrosoft.com::f9ef8c51-761c-4d11-abde-96febf25f02b" providerId="AD" clId="Web-{9BB967E0-27F7-F8DF-93D3-B92D76EE3C45}" dt="2022-03-28T06:52:43.574" v="0" actId="20577"/>
          <ac:spMkLst>
            <pc:docMk/>
            <pc:sldMk cId="1401364146" sldId="328"/>
            <ac:spMk id="35" creationId="{81BF859F-9C13-EE44-8FB4-B138E74DFABD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3BB98223-050B-F90F-4E22-675A4E108FB3}"/>
    <pc:docChg chg="delSld">
      <pc:chgData name="Koichi Ito" userId="S::koichi19960406_gmail.com#ext#@worldbankgroup.onmicrosoft.com::f9ef8c51-761c-4d11-abde-96febf25f02b" providerId="AD" clId="Web-{3BB98223-050B-F90F-4E22-675A4E108FB3}" dt="2022-01-24T03:51:50.687" v="24"/>
      <pc:docMkLst>
        <pc:docMk/>
      </pc:docMkLst>
      <pc:sldChg chg="del">
        <pc:chgData name="Koichi Ito" userId="S::koichi19960406_gmail.com#ext#@worldbankgroup.onmicrosoft.com::f9ef8c51-761c-4d11-abde-96febf25f02b" providerId="AD" clId="Web-{3BB98223-050B-F90F-4E22-675A4E108FB3}" dt="2022-01-24T03:51:50.687" v="23"/>
        <pc:sldMkLst>
          <pc:docMk/>
          <pc:sldMk cId="557764285" sldId="26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4"/>
        <pc:sldMkLst>
          <pc:docMk/>
          <pc:sldMk cId="1508050189" sldId="26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6"/>
        <pc:sldMkLst>
          <pc:docMk/>
          <pc:sldMk cId="1809080080" sldId="26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8"/>
        <pc:sldMkLst>
          <pc:docMk/>
          <pc:sldMk cId="197734961" sldId="26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6"/>
        <pc:sldMkLst>
          <pc:docMk/>
          <pc:sldMk cId="2203970018" sldId="26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7"/>
        <pc:sldMkLst>
          <pc:docMk/>
          <pc:sldMk cId="4256187428" sldId="27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5"/>
        <pc:sldMkLst>
          <pc:docMk/>
          <pc:sldMk cId="1323039318" sldId="28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1"/>
        <pc:sldMkLst>
          <pc:docMk/>
          <pc:sldMk cId="1575846324" sldId="28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1"/>
        <pc:sldMkLst>
          <pc:docMk/>
          <pc:sldMk cId="3805864057" sldId="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0"/>
        <pc:sldMkLst>
          <pc:docMk/>
          <pc:sldMk cId="2809998076" sldId="29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2"/>
        <pc:sldMkLst>
          <pc:docMk/>
          <pc:sldMk cId="1805953344" sldId="295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2"/>
        <pc:sldMkLst>
          <pc:docMk/>
          <pc:sldMk cId="2945891053" sldId="29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2"/>
        <pc:sldMkLst>
          <pc:docMk/>
          <pc:sldMk cId="1936467466" sldId="80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0"/>
        <pc:sldMkLst>
          <pc:docMk/>
          <pc:sldMk cId="517738782" sldId="80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9"/>
        <pc:sldMkLst>
          <pc:docMk/>
          <pc:sldMk cId="1762677749" sldId="80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20"/>
        <pc:sldMkLst>
          <pc:docMk/>
          <pc:sldMk cId="1483813527" sldId="115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4"/>
        <pc:sldMkLst>
          <pc:docMk/>
          <pc:sldMk cId="3782137662" sldId="3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3"/>
        <pc:sldMkLst>
          <pc:docMk/>
          <pc:sldMk cId="3426137463" sldId="329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8"/>
        <pc:sldMkLst>
          <pc:docMk/>
          <pc:sldMk cId="2765328655" sldId="329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5"/>
        <pc:sldMkLst>
          <pc:docMk/>
          <pc:sldMk cId="28806722" sldId="330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3"/>
        <pc:sldMkLst>
          <pc:docMk/>
          <pc:sldMk cId="2415660214" sldId="331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9"/>
        <pc:sldMkLst>
          <pc:docMk/>
          <pc:sldMk cId="320707729" sldId="332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4"/>
        <pc:sldMkLst>
          <pc:docMk/>
          <pc:sldMk cId="3023165403" sldId="332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7"/>
        <pc:sldMkLst>
          <pc:docMk/>
          <pc:sldMk cId="1120091" sldId="332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40" v="21"/>
        <pc:sldMkLst>
          <pc:docMk/>
          <pc:sldMk cId="3676367409" sldId="3344"/>
        </pc:sldMkLst>
      </pc:sldChg>
    </pc:docChg>
  </pc:docChgLst>
  <pc:docChgLst>
    <pc:chgData name="Revocatus Washington Paul" userId="S::catuspaul_gmail.com#ext#@worldbankgroup.onmicrosoft.com::b13f5400-0b53-417f-9ea3-8ee32bb124d8" providerId="AD" clId="Web-{1CB14918-AD6A-10BA-2763-0BF0757E496E}"/>
    <pc:docChg chg="addSld delSld modSld">
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<pc:docMkLst>
        <pc:docMk/>
      </pc:docMkLst>
      <pc:sldChg chg="delSp del">
        <pc:chgData name="Revocatus Washington Paul" userId="S::catuspaul_gmail.com#ext#@worldbankgroup.onmicrosoft.com::b13f5400-0b53-417f-9ea3-8ee32bb124d8" providerId="AD" clId="Web-{1CB14918-AD6A-10BA-2763-0BF0757E496E}" dt="2022-03-04T08:32:39.291" v="227"/>
        <pc:sldMkLst>
          <pc:docMk/>
          <pc:sldMk cId="2379308332" sldId="359"/>
        </pc:sldMkLst>
        <pc:picChg chg="del">
          <ac:chgData name="Revocatus Washington Paul" userId="S::catuspaul_gmail.com#ext#@worldbankgroup.onmicrosoft.com::b13f5400-0b53-417f-9ea3-8ee32bb124d8" providerId="AD" clId="Web-{1CB14918-AD6A-10BA-2763-0BF0757E496E}" dt="2022-03-04T08:32:36.353" v="226"/>
          <ac:picMkLst>
            <pc:docMk/>
            <pc:sldMk cId="2379308332" sldId="359"/>
            <ac:picMk id="6" creationId="{503F0F58-E7D7-470D-9814-240172827E43}"/>
          </ac:picMkLst>
        </pc:picChg>
      </pc:sldChg>
      <pc:sldChg chg="addSp delSp modSp">
        <pc:chgData name="Revocatus Washington Paul" userId="S::catuspaul_gmail.com#ext#@worldbankgroup.onmicrosoft.com::b13f5400-0b53-417f-9ea3-8ee32bb124d8" providerId="AD" clId="Web-{1CB14918-AD6A-10BA-2763-0BF0757E496E}" dt="2022-03-04T08:35:02.388" v="257" actId="1076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0:26.428" v="217" actId="20577"/>
          <ac:spMkLst>
            <pc:docMk/>
            <pc:sldMk cId="3425921230" sldId="361"/>
            <ac:spMk id="2" creationId="{6F428DEF-BC7B-45A2-BAA3-03E55AD44AF2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58.507" v="225" actId="1076"/>
          <ac:spMkLst>
            <pc:docMk/>
            <pc:sldMk cId="3425921230" sldId="361"/>
            <ac:spMk id="3" creationId="{6AD38473-9489-4BFC-88D0-1C6A72E33338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39.163" v="220"/>
          <ac:spMkLst>
            <pc:docMk/>
            <pc:sldMk cId="3425921230" sldId="361"/>
            <ac:spMk id="9" creationId="{D4294F6E-C2EE-4056-B00E-43366FC1CE52}"/>
          </ac:spMkLst>
        </pc:spChg>
        <pc:picChg chg="add del mod">
          <ac:chgData name="Revocatus Washington Paul" userId="S::catuspaul_gmail.com#ext#@worldbankgroup.onmicrosoft.com::b13f5400-0b53-417f-9ea3-8ee32bb124d8" providerId="AD" clId="Web-{1CB14918-AD6A-10BA-2763-0BF0757E496E}" dt="2022-03-04T08:11:20.856" v="129"/>
          <ac:picMkLst>
            <pc:docMk/>
            <pc:sldMk cId="3425921230" sldId="361"/>
            <ac:picMk id="6" creationId="{0DC81486-AFA6-45C0-8037-17418F590477}"/>
          </ac:picMkLst>
        </pc:pic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5:02.388" v="257" actId="1076"/>
          <ac:picMkLst>
            <pc:docMk/>
            <pc:sldMk cId="3425921230" sldId="361"/>
            <ac:picMk id="7" creationId="{8565D5FD-BA3E-4535-AD22-1F171A5E9CA1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1CB14918-AD6A-10BA-2763-0BF0757E496E}" dt="2022-03-04T08:33:42.886" v="256" actId="20577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3:42.886" v="256" actId="20577"/>
          <ac:spMkLst>
            <pc:docMk/>
            <pc:sldMk cId="53829710" sldId="362"/>
            <ac:spMk id="2" creationId="{BD1B06A8-1D0D-4F0B-980A-A14461073483}"/>
          </ac:spMkLst>
        </pc:spChg>
        <pc:spChg chg="del">
          <ac:chgData name="Revocatus Washington Paul" userId="S::catuspaul_gmail.com#ext#@worldbankgroup.onmicrosoft.com::b13f5400-0b53-417f-9ea3-8ee32bb124d8" providerId="AD" clId="Web-{1CB14918-AD6A-10BA-2763-0BF0757E496E}" dt="2022-03-04T08:32:54.025" v="229"/>
          <ac:spMkLst>
            <pc:docMk/>
            <pc:sldMk cId="53829710" sldId="362"/>
            <ac:spMk id="3" creationId="{A704A1FA-0172-44F7-BFC6-5A5A8235F5B4}"/>
          </ac:spMkLst>
        </pc:sp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3:12.385" v="234" actId="1076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 new">
  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  <pc:sldMkLst>
          <pc:docMk/>
          <pc:sldMk cId="2248430675" sldId="363"/>
        </pc:sldMkLst>
        <pc:spChg chg="del">
          <ac:chgData name="Revocatus Washington Paul" userId="S::catuspaul_gmail.com#ext#@worldbankgroup.onmicrosoft.com::b13f5400-0b53-417f-9ea3-8ee32bb124d8" providerId="AD" clId="Web-{1CB14918-AD6A-10BA-2763-0BF0757E496E}" dt="2022-03-04T08:35:41.138" v="259"/>
          <ac:spMkLst>
            <pc:docMk/>
            <pc:sldMk cId="2248430675" sldId="363"/>
            <ac:spMk id="2" creationId="{ABE7402B-EE10-4085-B5A1-9B411D244F8B}"/>
          </ac:spMkLst>
        </pc:spChg>
        <pc:spChg chg="mod">
          <ac:chgData name="Revocatus Washington Paul" userId="S::catuspaul_gmail.com#ext#@worldbankgroup.onmicrosoft.com::b13f5400-0b53-417f-9ea3-8ee32bb124d8" providerId="AD" clId="Web-{1CB14918-AD6A-10BA-2763-0BF0757E496E}" dt="2022-03-04T08:36:54.124" v="294" actId="1076"/>
          <ac:spMkLst>
            <pc:docMk/>
            <pc:sldMk cId="2248430675" sldId="363"/>
            <ac:spMk id="3" creationId="{9E9C2FA6-A852-4003-B484-DB530EC37CFC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F2F33BB4-9ACA-7416-4EB2-BE551EC4D591}"/>
    <pc:docChg chg="modSld">
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F2F33BB4-9ACA-7416-4EB2-BE551EC4D591}" dt="2022-02-21T06:58:19.254" v="4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Takaaki Masaki" userId="56a88eee-ec65-40f9-8642-be59fd24ba9b" providerId="ADAL" clId="{BE8B00C3-A11E-4706-A350-9EFB3B223751}"/>
    <pc:docChg chg="custSel modSld">
      <pc:chgData name="Takaaki Masaki" userId="56a88eee-ec65-40f9-8642-be59fd24ba9b" providerId="ADAL" clId="{BE8B00C3-A11E-4706-A350-9EFB3B223751}" dt="2022-02-21T01:39:14.520" v="65" actId="478"/>
      <pc:docMkLst>
        <pc:docMk/>
      </pc:docMkLst>
      <pc:sldChg chg="addSp delSp modSp mod">
        <pc:chgData name="Takaaki Masaki" userId="56a88eee-ec65-40f9-8642-be59fd24ba9b" providerId="ADAL" clId="{BE8B00C3-A11E-4706-A350-9EFB3B223751}" dt="2022-02-21T01:02:32.691" v="48" actId="113"/>
        <pc:sldMkLst>
          <pc:docMk/>
          <pc:sldMk cId="2539712035" sldId="256"/>
        </pc:sldMkLst>
        <pc:spChg chg="del">
          <ac:chgData name="Takaaki Masaki" userId="56a88eee-ec65-40f9-8642-be59fd24ba9b" providerId="ADAL" clId="{BE8B00C3-A11E-4706-A350-9EFB3B223751}" dt="2022-02-21T00:52:05.012" v="0" actId="478"/>
          <ac:spMkLst>
            <pc:docMk/>
            <pc:sldMk cId="2539712035" sldId="256"/>
            <ac:spMk id="3" creationId="{9BD1DEA5-3A2E-4FD9-9036-60D3104EA00D}"/>
          </ac:spMkLst>
        </pc:spChg>
        <pc:spChg chg="mod">
          <ac:chgData name="Takaaki Masaki" userId="56a88eee-ec65-40f9-8642-be59fd24ba9b" providerId="ADAL" clId="{BE8B00C3-A11E-4706-A350-9EFB3B223751}" dt="2022-02-21T01:02:32.691" v="48" actId="113"/>
          <ac:spMkLst>
            <pc:docMk/>
            <pc:sldMk cId="2539712035" sldId="256"/>
            <ac:spMk id="4" creationId="{D23673E8-12C1-4920-980E-880DA27CB9D6}"/>
          </ac:spMkLst>
        </pc:spChg>
        <pc:spChg chg="del">
          <ac:chgData name="Takaaki Masaki" userId="56a88eee-ec65-40f9-8642-be59fd24ba9b" providerId="ADAL" clId="{BE8B00C3-A11E-4706-A350-9EFB3B223751}" dt="2022-02-21T01:01:07.377" v="1" actId="22"/>
          <ac:spMkLst>
            <pc:docMk/>
            <pc:sldMk cId="2539712035" sldId="256"/>
            <ac:spMk id="5" creationId="{C850804E-FCCC-4283-950A-83B7D00F344A}"/>
          </ac:spMkLst>
        </pc:spChg>
        <pc:picChg chg="add mod ord modCrop">
          <ac:chgData name="Takaaki Masaki" userId="56a88eee-ec65-40f9-8642-be59fd24ba9b" providerId="ADAL" clId="{BE8B00C3-A11E-4706-A350-9EFB3B223751}" dt="2022-02-21T01:01:47.548" v="10" actId="1076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">
        <pc:chgData name="Takaaki Masaki" userId="56a88eee-ec65-40f9-8642-be59fd24ba9b" providerId="ADAL" clId="{BE8B00C3-A11E-4706-A350-9EFB3B223751}" dt="2022-02-21T01:02:52.816" v="51" actId="478"/>
        <pc:sldMkLst>
          <pc:docMk/>
          <pc:sldMk cId="363020870" sldId="258"/>
        </pc:sldMkLst>
        <pc:spChg chg="del">
          <ac:chgData name="Takaaki Masaki" userId="56a88eee-ec65-40f9-8642-be59fd24ba9b" providerId="ADAL" clId="{BE8B00C3-A11E-4706-A350-9EFB3B223751}" dt="2022-02-21T01:02:48.457" v="49" actId="478"/>
          <ac:spMkLst>
            <pc:docMk/>
            <pc:sldMk cId="363020870" sldId="258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02:52.816" v="51" actId="478"/>
          <ac:spMkLst>
            <pc:docMk/>
            <pc:sldMk cId="363020870" sldId="258"/>
            <ac:spMk id="4" creationId="{1EE6E14C-DFEC-4A41-972C-3C099E1C11EF}"/>
          </ac:spMkLst>
        </pc:spChg>
        <pc:spChg chg="del">
          <ac:chgData name="Takaaki Masaki" userId="56a88eee-ec65-40f9-8642-be59fd24ba9b" providerId="ADAL" clId="{BE8B00C3-A11E-4706-A350-9EFB3B223751}" dt="2022-02-21T01:02:50.802" v="50" actId="478"/>
          <ac:spMkLst>
            <pc:docMk/>
            <pc:sldMk cId="363020870" sldId="258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E8B00C3-A11E-4706-A350-9EFB3B223751}" dt="2022-02-21T01:04:46.632" v="63" actId="20577"/>
        <pc:sldMkLst>
          <pc:docMk/>
          <pc:sldMk cId="4062278478" sldId="268"/>
        </pc:sldMkLst>
        <pc:spChg chg="mod">
          <ac:chgData name="Takaaki Masaki" userId="56a88eee-ec65-40f9-8642-be59fd24ba9b" providerId="ADAL" clId="{BE8B00C3-A11E-4706-A350-9EFB3B223751}" dt="2022-02-21T01:04:32.232" v="57" actId="20577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Takaaki Masaki" userId="56a88eee-ec65-40f9-8642-be59fd24ba9b" providerId="ADAL" clId="{BE8B00C3-A11E-4706-A350-9EFB3B223751}" dt="2022-02-21T01:04:46.632" v="63" actId="20577"/>
          <ac:spMkLst>
            <pc:docMk/>
            <pc:sldMk cId="4062278478" sldId="268"/>
            <ac:spMk id="9" creationId="{EF46FD93-006D-1841-9BF2-A76B949BB2B1}"/>
          </ac:spMkLst>
        </pc:spChg>
      </pc:sldChg>
      <pc:sldChg chg="delSp mod">
        <pc:chgData name="Takaaki Masaki" userId="56a88eee-ec65-40f9-8642-be59fd24ba9b" providerId="ADAL" clId="{BE8B00C3-A11E-4706-A350-9EFB3B223751}" dt="2022-02-21T01:39:14.520" v="65" actId="478"/>
        <pc:sldMkLst>
          <pc:docMk/>
          <pc:sldMk cId="3044218326" sldId="297"/>
        </pc:sldMkLst>
        <pc:spChg chg="del">
          <ac:chgData name="Takaaki Masaki" userId="56a88eee-ec65-40f9-8642-be59fd24ba9b" providerId="ADAL" clId="{BE8B00C3-A11E-4706-A350-9EFB3B223751}" dt="2022-02-21T01:39:12.323" v="64" actId="478"/>
          <ac:spMkLst>
            <pc:docMk/>
            <pc:sldMk cId="3044218326" sldId="297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39:14.520" v="65" actId="478"/>
          <ac:spMkLst>
            <pc:docMk/>
            <pc:sldMk cId="3044218326" sldId="297"/>
            <ac:spMk id="5" creationId="{690978AD-00A2-4582-B389-CFB3FB3E3D1D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0922F64F-1FF4-C16B-2D0A-0BE6681EB12C}"/>
    <pc:docChg chg="mod modSld modMainMaster">
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<pc:docMkLst>
        <pc:docMk/>
      </pc:docMkLst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2592262" sldId="2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4" creationId="{B51EE5FC-BB57-42AC-A7DB-7EFEC9209A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2592262" sldId="257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6" creationId="{CA2B1802-EDD5-482F-80D4-039B0DBED4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2592262" sldId="257"/>
            <ac:spMk id="7" creationId="{6894D879-516E-4970-BF01-A5C807B4E9E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61101582" sldId="26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3" creationId="{43004A35-3C9B-4926-9350-14583BECB18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4" creationId="{303353B8-6041-4DEE-A84E-20B6BB4C915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61101582" sldId="260"/>
            <ac:spMk id="5" creationId="{FED7D9D4-B274-4CB0-9099-9AB19962EB8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61101582" sldId="260"/>
            <ac:spMk id="8" creationId="{A91450E7-1ABA-487C-8211-6CD07D1912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26581259" sldId="2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3" creationId="{AC236F35-0A9E-47A7-904B-59FDC865590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4" creationId="{FF79E670-E1AA-4DAC-B8DC-58D93B8EE0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26581259" sldId="262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26581259" sldId="262"/>
            <ac:spMk id="6" creationId="{CE5103FD-2D91-48F7-8FA4-50E0195E7F5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861721" sldId="2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3" creationId="{EEFB8F2C-0F54-47A5-90B3-1D44B5EA49D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4" creationId="{ED86474F-9B2E-4F18-9B96-49397351ABE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861721" sldId="264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861721" sldId="264"/>
            <ac:spMk id="6" creationId="{874260ED-BDE2-49FA-BAF4-3E11658DAA9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56061048" sldId="26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3" creationId="{0EAA32B7-7302-42B7-BE78-63349A31E1E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4" creationId="{463DB7D4-EC15-47DD-A34A-930BDECF61D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56061048" sldId="265"/>
            <ac:spMk id="5" creationId="{6835BBEB-4E21-654B-9FB4-217D124FF879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56061048" sldId="265"/>
            <ac:spMk id="10" creationId="{216AAD36-0F68-4641-BC98-14E6E1C0A2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2278478" sldId="26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3" creationId="{1780F16D-366F-46FB-B69D-BAE1651D36D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4" creationId="{580F83C4-3769-4AF7-94D8-BD9ADA47AC3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2278478" sldId="26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2278478" sldId="268"/>
            <ac:spMk id="6" creationId="{A48A7DB4-09E8-4065-A45A-DB1D16E3280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81752054" sldId="27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3" creationId="{87352165-DC5D-4A06-A53A-FB9D3BE66B0B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4" creationId="{048CF9E2-F38D-4CB5-9236-91F09807A3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81752054" sldId="27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81752054" sldId="270"/>
            <ac:spMk id="6" creationId="{345DFD21-0309-47B5-9FAD-C7D5A524E6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9570019" sldId="27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3" creationId="{CE4EB942-3534-4A12-AA64-71C2B6C8889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4" creationId="{25180F7A-62E9-4BBC-9DC5-FD718715CD1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9570019" sldId="27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9570019" sldId="271"/>
            <ac:spMk id="7" creationId="{31F95FAE-ECB6-4BC9-9F3A-06CC41CCFFC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7402464" sldId="27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3" creationId="{6C177B9C-6CE7-475A-B3CC-4BB12247B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4" creationId="{27674678-FB26-481C-AB41-22FA4CE3AE5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7402464" sldId="272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7402464" sldId="272"/>
            <ac:spMk id="6" creationId="{E4238ACC-C147-4A81-B4C2-6CD42974A7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76614564" sldId="27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3" creationId="{216B6C5C-533D-42A6-9C53-013D4F5ABA8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4" creationId="{E8CCC57E-0F7F-4A12-BA28-54B21C28D55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76614564" sldId="274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76614564" sldId="274"/>
            <ac:spMk id="7" creationId="{EACAFBD0-D51C-4D07-B5AE-0A643F2BB17C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59914308" sldId="27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3" creationId="{49025C34-83B4-4928-9D0A-838D11D6D88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4" creationId="{695A0E0F-6327-4BD5-8A39-60E7A868CF8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59914308" sldId="27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59914308" sldId="275"/>
            <ac:spMk id="6" creationId="{2AA01F5F-39ED-4830-98C6-E2723E49556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81439180" sldId="27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3" creationId="{ABCC65B9-98E7-42ED-BDD1-3C4675E9058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4" creationId="{F2088BA2-1BF8-45F6-BE5D-FD122DC1272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81439180" sldId="27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81439180" sldId="276"/>
            <ac:spMk id="6" creationId="{B59B8B79-69A4-4AE2-A3E6-F23FB2021A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6035135" sldId="27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3" creationId="{2B968C93-EFAB-47FF-878B-5731F5D5BA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4" creationId="{46F1FACA-94E2-480F-96D8-A46BFB9F3E4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6035135" sldId="27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6035135" sldId="277"/>
            <ac:spMk id="7" creationId="{A24986F2-FD0B-4D8C-B4AC-97CC23F31E2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25696332" sldId="27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3" creationId="{F70D885E-C253-48E5-8E0B-49B206672CC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4" creationId="{1D9C6756-29DB-43D8-B351-46F6D763FAD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25696332" sldId="278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25696332" sldId="278"/>
            <ac:spMk id="6" creationId="{18379EE8-FA74-463B-B85E-40042808CBC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96130260" sldId="27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3" creationId="{E6FA2BB1-4C99-4E53-A2CA-74326BE606D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4" creationId="{D03689AD-BCAF-4A48-88E6-66C96A1D60E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96130260" sldId="279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96130260" sldId="279"/>
            <ac:spMk id="7" creationId="{D64ADB36-3362-4D5C-BBBA-ADD817B31B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43936518" sldId="28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3" creationId="{C1F22D49-226D-426D-91DA-CAE0989DC11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4" creationId="{3E78336F-F8DD-4AD3-8195-058BECF6F5A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43936518" sldId="28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43936518" sldId="280"/>
            <ac:spMk id="6" creationId="{7020E284-B604-4658-A7A8-04D15CD86D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7997508" sldId="28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3" creationId="{442D0F6C-060E-464F-92A5-2C91972C071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4" creationId="{5A69E081-C65F-4914-B892-A61A31B2F6D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7997508" sldId="28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7997508" sldId="281"/>
            <ac:spMk id="7" creationId="{C2651FD1-AC54-4BE8-9DCF-BB11418684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49391245" sldId="28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3" creationId="{B6A9DDD3-80A0-42C3-8A79-36FADDE729C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4" creationId="{D67DDCBD-3A09-4D94-AEF3-65A5BFCA65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49391245" sldId="283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49391245" sldId="283"/>
            <ac:spMk id="7" creationId="{B67C751F-7D66-4D07-B309-7E6FED55C98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620493443" sldId="28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3" creationId="{EDD244ED-4819-4E8D-ABBC-DB5838B9070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4" creationId="{05835D4C-1EE1-45C2-A997-D361502B703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620493443" sldId="28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620493443" sldId="285"/>
            <ac:spMk id="8" creationId="{C064A59A-4D98-4B68-AB84-AB313E50D4A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50090798" sldId="28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3" creationId="{2FE838EC-9706-4D4A-9E26-34DF9977326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4" creationId="{7456FB2F-8C8D-4BCF-AC34-9F7FC4EBD27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50090798" sldId="28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50090798" sldId="286"/>
            <ac:spMk id="6" creationId="{726137DA-207E-498E-B04D-0D43290EC31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8456390" sldId="28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3" creationId="{05F333A3-F369-4BF3-A626-73FB7CD0084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4" creationId="{2D48E3B5-AB4B-4159-B6B9-3115F7E510E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8456390" sldId="28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8456390" sldId="287"/>
            <ac:spMk id="7" creationId="{7E922179-740C-4B3A-82BA-C989B2AA79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5186025" sldId="28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4" creationId="{740BAA07-8C12-410D-AA2D-2EEF052D66B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5186025" sldId="28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6" creationId="{5A9321D4-1E98-4052-A1B3-61B71DE27A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5186025" sldId="289"/>
            <ac:spMk id="7" creationId="{747DD43D-B6A4-4AC4-859B-6626548903E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74050655" sldId="29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3" creationId="{365B634E-C9E0-4C17-B8E6-D4044A8C04D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4" creationId="{C9A7A55C-AC68-45D4-9D6B-79A802A1623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74050655" sldId="29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74050655" sldId="291"/>
            <ac:spMk id="6" creationId="{1CF01C26-865B-4630-B39E-F142D2CE4AA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40112873" sldId="29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3" creationId="{51020DAE-ABDA-479B-8A99-E140617E93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4" creationId="{1F2033A0-4E09-476B-BBDF-9E01D97E7B0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40112873" sldId="29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40112873" sldId="292"/>
            <ac:spMk id="7" creationId="{F71FA181-5470-4639-A1EF-1F4E9D3F35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9800161" sldId="29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3" creationId="{1049D59D-EE60-4DF6-A2DA-6BFCDCB9243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4" creationId="{7E691A88-0B6D-4728-AFFD-AD0EDC555E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9800161" sldId="29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9800161" sldId="293"/>
            <ac:spMk id="6" creationId="{126CB188-2471-4ED8-969B-84D3E8E37D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0995884" sldId="29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3" creationId="{F78A9824-2923-4280-B83D-2CEAEEF1E6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4" creationId="{C525CBDD-0DFC-481F-A7EF-9BBFB94EEE9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0995884" sldId="29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0995884" sldId="294"/>
            <ac:spMk id="6" creationId="{BA97B893-F4CB-4ED1-8CA5-18456EDD84F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93778490" sldId="29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3" creationId="{FD7B0AE6-4A62-477C-B4D7-AEB2B04F85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4" creationId="{29CF4D06-231C-454C-8EF8-893E46D209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93778490" sldId="29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93778490" sldId="295"/>
            <ac:spMk id="10" creationId="{35D8A794-08C8-41DE-8871-983471582F2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8002913" sldId="29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3" creationId="{82BF8EEC-6429-4322-8A93-1955B456080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4" creationId="{E8E9CE54-4496-4FD1-A787-0E004D399AA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8002913" sldId="29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8002913" sldId="296"/>
            <ac:spMk id="6" creationId="{7532F21E-7623-4E22-8BEF-70EBDCB43E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83517966" sldId="29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3" creationId="{71784555-ACA8-44D5-B2F2-96E7346EB7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4" creationId="{5387F03D-D1C6-4D7D-872D-4238B33B17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83517966" sldId="29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83517966" sldId="298"/>
            <ac:spMk id="6" creationId="{3038BB6E-9359-41D4-99EF-77CFB081BD1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9642416" sldId="29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3" creationId="{F4CC7F9E-CD1A-4534-B6F8-138D37228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4" creationId="{01C22D24-4A36-4B78-AAE4-924D692AEE2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9642416" sldId="29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9642416" sldId="299"/>
            <ac:spMk id="6" creationId="{C9C40096-E212-421B-9734-79FE026630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17790741" sldId="30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3" creationId="{0968A151-5513-4AC0-B55D-900E2AAF341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4" creationId="{1F670A6D-A236-49F9-B8B7-23257D1F325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17790741" sldId="30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17790741" sldId="300"/>
            <ac:spMk id="6" creationId="{BC780FC3-57E4-48D2-BC7A-2DACE44EAE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00639827" sldId="30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3" creationId="{EAB38774-C192-4D77-9350-E533653E57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4" creationId="{816FE7B8-83B5-4A8B-9605-DAA91B11DA0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00639827" sldId="30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00639827" sldId="301"/>
            <ac:spMk id="6" creationId="{6B2003B5-721F-4ED7-9C05-48EB414456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861466284" sldId="30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3" creationId="{560EDD7B-6A8B-40F3-B935-50371FB888A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4" creationId="{5C4D93CB-A8F4-4D59-A976-496B27B99FA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861466284" sldId="30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861466284" sldId="302"/>
            <ac:spMk id="6" creationId="{67843F7D-8331-482B-B53D-D4247361282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26047802" sldId="30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3" creationId="{1908F3AB-3A9D-42B6-A0BC-450F26F1137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4" creationId="{6873F5E4-0A50-4656-A81F-1060B80249A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26047802" sldId="30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26047802" sldId="303"/>
            <ac:spMk id="10" creationId="{ABC2EBFF-60B0-4453-99C7-5E5FCE4E64A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33917220" sldId="30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3" creationId="{BF15E19C-7A5A-46AB-A433-4D1BBC7AF5F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4" creationId="{63C54AFD-3E25-4A6B-96DD-79085351E96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33917220" sldId="30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33917220" sldId="304"/>
            <ac:spMk id="6" creationId="{4CCC9478-6BB8-4C79-BD33-AB0FD8A918E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95236631" sldId="30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3" creationId="{5E4C474C-481E-4505-9D43-7C83BE77E2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4" creationId="{31A04089-7F23-4D43-9DB2-9B1511BEA9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95236631" sldId="30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95236631" sldId="305"/>
            <ac:spMk id="8" creationId="{C2781AED-EBF9-4994-9D1F-3A874FFA819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530554265" sldId="30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3" creationId="{7189391B-B392-47F0-8738-7AE36CD067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4" creationId="{514D944C-E440-4A46-82D5-01A3C66ED33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530554265" sldId="306"/>
            <ac:spMk id="5" creationId="{848CC61A-931C-ED46-AE2D-8670254B7CA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530554265" sldId="306"/>
            <ac:spMk id="6" creationId="{F0D791BC-18B3-479F-831A-E4F67CC1AEA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63826054" sldId="30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3" creationId="{AD87E836-AA7C-4F59-B640-86E3B721DF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4" creationId="{38C1BCEE-0A06-457F-BDD4-D6CF52BFD78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63826054" sldId="30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63826054" sldId="307"/>
            <ac:spMk id="6" creationId="{4F3B306E-66A0-47B3-8DF1-FF7BE418CA1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3704736" sldId="30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3" creationId="{6781F0CB-7937-4B12-A43F-D313F3249CF8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4" creationId="{60D99A92-6096-4457-8B4E-2FBA7443E4C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3704736" sldId="30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3704736" sldId="308"/>
            <ac:spMk id="6" creationId="{22441DAD-7206-47DF-8F0F-A6123E40B7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23954067" sldId="30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3" creationId="{7C09BDE4-8F68-4A00-9BE6-7249E24B96C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4" creationId="{10913FDC-D9FD-44AA-B3B6-968CDCC3597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23954067" sldId="30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23954067" sldId="309"/>
            <ac:spMk id="6" creationId="{904C17AE-F05A-4491-A151-636A81DACD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40862157" sldId="31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4" creationId="{7DBF2CC1-EFB7-4CD4-A2E9-F4F1A8823AE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40862157" sldId="311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6" creationId="{B00A5459-4993-49AE-B76B-07C9E69A2A6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40862157" sldId="311"/>
            <ac:spMk id="7" creationId="{02341FB6-0DB1-49CD-8F98-3A34BCB7112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6681203" sldId="31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4" creationId="{EC7ED200-F29A-45D4-875C-D6A12EF65F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6681203" sldId="312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6" creationId="{B369F76F-3A10-40FC-8891-A08D0BF84F2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6681203" sldId="312"/>
            <ac:spMk id="7" creationId="{F8D9A4F5-8A09-4F23-81D7-5AC162F1243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440085736" sldId="31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3" creationId="{995D3C38-B559-43C2-930A-876A8652AD6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4" creationId="{2655FD71-E497-421C-A9F2-C4B28295751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440085736" sldId="31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440085736" sldId="313"/>
            <ac:spMk id="6" creationId="{54C740FD-E8CC-4704-92C3-DCF60375853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61012292" sldId="31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3" creationId="{BAA9C76C-56D9-42BA-B15F-7FE71CA233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4" creationId="{04063D03-05A3-433E-9C6B-EF570EB7CD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61012292" sldId="31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61012292" sldId="314"/>
            <ac:spMk id="6" creationId="{15CCDD3C-A42E-451D-8EB3-FBD59B62D83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0522131" sldId="31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4" creationId="{61DC72CB-9D36-4EB5-A922-0D1BF1A414C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0522131" sldId="316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6" creationId="{EC13E530-CED4-4C29-9CEE-50D65E6C387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0522131" sldId="316"/>
            <ac:spMk id="7" creationId="{9B10740A-3943-4DE6-BF10-D18F97AE862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4892408" sldId="31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3" creationId="{D3C05464-FF26-4785-BA30-A4254E4BB84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4" creationId="{4CA4EC35-D8DD-428C-9ABE-6BF7A796926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4892408" sldId="31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4892408" sldId="317"/>
            <ac:spMk id="7" creationId="{0DFC93CF-0972-4B42-BD40-0E9EC87C706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0596042" sldId="31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4" creationId="{B16D0B43-15D2-40EB-B16E-50604BEA01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0596042" sldId="31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6" creationId="{C61FDCF4-F974-4B6F-B5EF-AD8C38EDC5B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0596042" sldId="318"/>
            <ac:spMk id="7" creationId="{D1541A09-8732-4FE4-BADF-A2F0069C570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74777105" sldId="31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3" creationId="{688FA9F2-DDDB-41C8-9B41-44BE9EA441E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4" creationId="{D314E5E0-A30A-4C7B-B915-32881ADD52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74777105" sldId="31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74777105" sldId="319"/>
            <ac:spMk id="7" creationId="{4DDCEF50-F504-4A1F-89F4-678AB8C1C5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00250114" sldId="32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4" creationId="{36CF955D-59D0-4659-9B76-59B37C9CCF0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00250114" sldId="32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6" creationId="{5BDEF754-A96B-4030-879B-32855CAD8F44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00250114" sldId="320"/>
            <ac:spMk id="8" creationId="{6718A924-334A-4A42-804D-60571A8C1755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81064406" sldId="32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3" creationId="{4D8A333D-EE73-4C46-A122-2E443922790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4" creationId="{25C66FE8-FCA1-47BB-91EA-C4394D1E929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81064406" sldId="32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81064406" sldId="321"/>
            <ac:spMk id="7" creationId="{9EAD4AC2-40C1-4CCA-9917-F01F58831BA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7170624" sldId="32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3" creationId="{6A6681BE-28CC-423C-949C-6CE92C51233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4" creationId="{E63E1D39-6308-41D2-AD89-A19203ACB04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7170624" sldId="32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7170624" sldId="322"/>
            <ac:spMk id="7" creationId="{B009725C-0498-47FB-8B01-9EDC109C6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24304825" sldId="32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4" creationId="{76694EB2-0A9D-4988-8E32-48E71CFEEAC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24304825" sldId="32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6" creationId="{831B17D8-E262-4FF6-BE23-A156E1AE939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24304825" sldId="323"/>
            <ac:spMk id="8" creationId="{54AB69B0-F50B-43E0-8405-A6B65E6734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2796959" sldId="32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3" creationId="{06B64D45-0161-4CAF-B1CE-32891AB8B66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4" creationId="{FD6AE0D6-54D5-4B8D-B7DF-B576F0FDD17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2796959" sldId="32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2796959" sldId="324"/>
            <ac:spMk id="7" creationId="{A067C6C1-7637-4695-98EB-AE9D92D0101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01364146" sldId="32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3" creationId="{86D18283-47E8-4D9B-81AA-5192589861B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4" creationId="{C72F0588-FA95-4B16-B090-95CB0159B00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01364146" sldId="32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01364146" sldId="328"/>
            <ac:spMk id="8" creationId="{5A21FA67-078F-4C18-AC5F-A51E5350314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84531833" sldId="32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4" creationId="{12AF8950-A342-4DB4-B912-8D9F61FDBFD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84531833" sldId="32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6" creationId="{8AA1FF0D-8FA8-4AC2-9E2D-20688B7C5528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84531833" sldId="329"/>
            <ac:spMk id="8" creationId="{315AA01B-6AAD-4D4B-B471-EDEC6E6A271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86762857" sldId="33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3" creationId="{93CA833A-C9BE-4EAE-AA08-EA96080146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4" creationId="{4F588868-A359-4CF7-BB76-FB3AFCDAEA2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86762857" sldId="33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86762857" sldId="330"/>
            <ac:spMk id="7" creationId="{0B818579-84F0-4DB7-8939-EF45014D7D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5117747" sldId="33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4" creationId="{133F8E9F-3979-4EC2-8E5F-F822352E09B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5117747" sldId="33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6" creationId="{60682626-E433-4C6F-95A3-EDCEFC20FC3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5117747" sldId="331"/>
            <ac:spMk id="8" creationId="{9488F5F1-086F-419F-B852-F373FC87BC5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40371423" sldId="33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3" creationId="{A26F1C80-334A-45E5-B5BF-D840F1D23E1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4" creationId="{7FE9268C-690A-49B5-A9C4-2448CFD4FAF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40371423" sldId="33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40371423" sldId="332"/>
            <ac:spMk id="7" creationId="{D2EEDE2A-060B-45CC-B5CB-D403935F9BC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5362079" sldId="33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4" creationId="{4E695C89-947D-4537-8D31-6FB80921633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5362079" sldId="33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6" creationId="{46EABDC6-423A-4C28-A69F-62AFD42643C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5362079" sldId="333"/>
            <ac:spMk id="8" creationId="{29DECBD6-FBF5-4BBC-81D6-1C17EB666C1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01842481" sldId="33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3" creationId="{2B162842-0E2F-44B7-8846-9B9E907E063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4" creationId="{531F0006-C1F1-44A8-8BF3-AF25B1733C0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01842481" sldId="33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01842481" sldId="334"/>
            <ac:spMk id="7" creationId="{0FA19D0A-F2E4-4B89-A04A-2162049A4A9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57339580" sldId="33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3" creationId="{75FC5822-C708-475B-AFE9-2DDCB7206BE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4" creationId="{9AEF43C1-0340-4AD0-A9EC-25B3C3BFE3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57339580" sldId="33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57339580" sldId="336"/>
            <ac:spMk id="7" creationId="{DAFDDF76-C8E4-45B2-AE7E-DD49659FCF8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92558059" sldId="33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4" creationId="{FA0FB9AF-354D-4628-91E1-4516EE6A96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92558059" sldId="337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6" creationId="{4794AC75-226C-425B-BB0C-41AC0B6BBD3A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92558059" sldId="337"/>
            <ac:spMk id="8" creationId="{5EAA20CA-0CEB-48CE-8098-974E9156E3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07988906" sldId="33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3" creationId="{733741E7-54CD-4BAD-8417-132633BC88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4" creationId="{B71F1666-05C1-4327-9698-A5CB7D49181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07988906" sldId="33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07988906" sldId="338"/>
            <ac:spMk id="7" creationId="{F4501216-2C12-41B9-AC79-F6F21E4EE5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11257722" sldId="33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4" creationId="{49C86821-486F-4DEF-A7C2-2C00E672C3E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11257722" sldId="33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6" creationId="{46C1C212-9D50-4E61-82EB-248855BD6FC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11257722" sldId="339"/>
            <ac:spMk id="8" creationId="{D2C78BE3-2A47-4844-BCB5-7FA9E877D93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69113427" sldId="34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4" creationId="{915D4168-6095-4EAD-BAC0-C61F088BD5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69113427" sldId="34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7" creationId="{39519D0F-55D1-4CFA-A5AF-3BFE834B69D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69113427" sldId="340"/>
            <ac:spMk id="9" creationId="{6AF77450-E8EE-48C0-80C3-49896CA7B0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32969113" sldId="34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3" creationId="{6CAF1159-E487-4F7E-A54E-108321611DF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4" creationId="{58CD666B-7B32-4AA0-BA14-1A04A8D253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32969113" sldId="34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32969113" sldId="341"/>
            <ac:spMk id="6" creationId="{02819493-3D7A-4B19-931C-0A68F16D7B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976533686" sldId="34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3" creationId="{DEE0D8CC-CBB5-4D67-9EB2-BB588049AB2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4" creationId="{32ED8C6E-3C07-469B-98D4-AC6D8BCCB2C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976533686" sldId="34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976533686" sldId="342"/>
            <ac:spMk id="6" creationId="{FDF1B067-4D20-44B7-9D3F-B9338A0D536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4946574" sldId="34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3" creationId="{5A3CBDD8-65DD-49D9-8D7F-462B68C99AA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4" creationId="{AAA505F4-214E-4BAE-A0DE-03CF1BF931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4946574" sldId="34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4946574" sldId="343"/>
            <ac:spMk id="6" creationId="{E34033EB-75F6-4A4F-9F0A-AD4E8FC423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53378438" sldId="34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3" creationId="{C1AF4FB0-24FA-43F7-A71F-4543160660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4" creationId="{BADFCC86-9B37-4FE5-85C5-A2638C54794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53378438" sldId="34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53378438" sldId="344"/>
            <ac:spMk id="7" creationId="{0A15FA8B-0200-4804-BEB0-08EE90A183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358782502" sldId="34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4" creationId="{B718580D-E473-4C4B-B135-7A03BDE8216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358782502" sldId="345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6" creationId="{4C30940D-0F9A-4247-8C5F-03C868F2E9FC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358782502" sldId="345"/>
            <ac:spMk id="9" creationId="{1BE46C21-8B26-465E-9D53-E794843DFE5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11732116" sldId="34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3" creationId="{6CB312CB-2E3B-4AB4-8759-39DC3CE705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4" creationId="{FBD7F8A9-F5B1-4FE4-A551-5D38273405A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11732116" sldId="34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11732116" sldId="346"/>
            <ac:spMk id="7" creationId="{2499F354-1AB7-486A-9FE9-533ADA553FB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94643259" sldId="34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4" creationId="{82135299-6CC3-417F-B952-6AA77E30CC2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94643259" sldId="34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7" creationId="{C46C7FB0-EC52-4B27-98DA-B71A6C1BA9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94643259" sldId="348"/>
            <ac:spMk id="9" creationId="{164F32E1-C0BA-4358-8932-040AD3B4F7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674571283" sldId="34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3" creationId="{180EEEE4-60A4-4B23-AEDF-E8EC8CE4D39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4" creationId="{55728BDF-F588-47B4-86A6-0D6D603670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674571283" sldId="34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674571283" sldId="349"/>
            <ac:spMk id="6" creationId="{DBB56B88-91D3-4520-8718-76029AA66F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982333163" sldId="35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3" creationId="{C36877DC-CAF0-4CCA-A1F4-92CD95A0D9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4" creationId="{9982CC8D-E6D1-4017-B95D-3B1A52D8F11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982333163" sldId="35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982333163" sldId="350"/>
            <ac:spMk id="6" creationId="{BA61A8D8-2C1A-44EC-8CCB-D8578232E8F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16336217" sldId="35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4" creationId="{B948E110-CFE2-44DE-8DC7-6CD65C2B93B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16336217" sldId="35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6" creationId="{96965CD5-81DC-4B1E-B37D-43BAC065F13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16336217" sldId="351"/>
            <ac:spMk id="9" creationId="{DAF875C3-CEA8-4256-BC3D-E72E042234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818183" sldId="35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4" creationId="{EBECFA64-6675-4ACE-9F3E-8F0083D3F34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818183" sldId="352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7" creationId="{A0ABF06F-80DE-4E05-B91D-5C49B6890EF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818183" sldId="352"/>
            <ac:spMk id="9" creationId="{7370ADF5-A5F6-481D-BE86-0AE1624362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568504011" sldId="35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3" creationId="{265CF6DD-7D59-493A-BC88-DC7D36604D0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4" creationId="{9187423A-D926-4CC6-B217-D30916D262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568504011" sldId="35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568504011" sldId="353"/>
            <ac:spMk id="7" creationId="{030337D2-962A-462C-BFEE-0BD094A2C4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19758586" sldId="35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3" creationId="{0C2E9D40-DD1C-4381-970F-C59F03E49BB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4" creationId="{29A094BE-2D56-44FF-B854-33BB9FAF36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19758586" sldId="35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19758586" sldId="354"/>
            <ac:spMk id="7" creationId="{4CD3F493-FE62-4294-8C8D-F146BE16C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06402260" sldId="35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4" creationId="{498C38D8-F7B9-4197-AE79-826D5C44D5B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06402260" sldId="355"/>
            <ac:spMk id="5" creationId="{F6EDEF77-D2E9-F242-9CBC-4B2120B54E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8" creationId="{23357CF5-FBF4-4BFC-A4BA-AEC706686D1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06402260" sldId="355"/>
            <ac:spMk id="9" creationId="{3E6EB188-B946-44EE-BD71-E7B8F15C5E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88053049" sldId="35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3" creationId="{D7A0D850-FC80-47B6-9C6E-CC07FB46F9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4" creationId="{3852E01C-9E41-4108-B979-F19A017F58C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88053049" sldId="35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88053049" sldId="356"/>
            <ac:spMk id="10" creationId="{5662105C-C71E-400E-9804-E31ED44322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0501836" sldId="3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3" creationId="{7CA601BF-FFF8-4013-9BB7-307ECFC2938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4" creationId="{BC69E712-6CEC-413C-9B63-7015EE63C2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0501836" sldId="35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0501836" sldId="357"/>
            <ac:spMk id="6" creationId="{F64D0C1B-0505-42EB-83A2-5CBF1021F49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425921230" sldId="36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4" creationId="{3A2574C4-B325-441F-BAF9-9EEB1A20A44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425921230" sldId="361"/>
            <ac:spMk id="5" creationId="{66F02C85-C640-4FA7-9E2E-BA24577BC5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6" creationId="{6EF93B46-E714-44D2-A614-8D0EC07D7CB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425921230" sldId="361"/>
            <ac:spMk id="8" creationId="{EE810A10-C0FB-40DB-8475-7545B162AD5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  <pc:sldMkLst>
          <pc:docMk/>
          <pc:sldMk cId="53829710" sldId="3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3" creationId="{1461DA50-16E3-4630-867A-A79D6C29CB4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4" creationId="{297A06B5-9C8C-4ED2-A045-E3F85C6B3E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5:10.723" v="101" actId="20577"/>
          <ac:spMkLst>
            <pc:docMk/>
            <pc:sldMk cId="53829710" sldId="362"/>
            <ac:spMk id="5" creationId="{258DFF39-05D4-4903-92F4-2E6F3B7515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1.737" v="98"/>
          <ac:spMkLst>
            <pc:docMk/>
            <pc:sldMk cId="53829710" sldId="362"/>
            <ac:spMk id="7" creationId="{A4334B25-3D10-4502-B9D3-3F2EF14634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48430675" sldId="36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2" creationId="{C19E0C81-C698-4EF4-BE05-C3226DCAB17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4" creationId="{A1C2E1F5-A1DA-4497-86A6-EE71A4177D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48430675" sldId="363"/>
            <ac:spMk id="5" creationId="{231CF525-C19A-42BE-B43D-7D6FDC3E632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48430675" sldId="363"/>
            <ac:spMk id="6" creationId="{51A67098-8165-48C0-9BB7-D6B305E6A1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41046725" sldId="3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3" creationId="{46C2D5D2-71B5-4E9B-ACCF-B893127D6EB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4" creationId="{015D7EBF-77E2-45E8-8AC9-1752A3DA8A6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41046725" sldId="364"/>
            <ac:spMk id="5" creationId="{E09A7154-CA42-4B90-B623-4BB1E089C0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41046725" sldId="364"/>
            <ac:spMk id="8" creationId="{3A502DD5-B0A3-452B-902E-9E82DD22783B}"/>
          </ac:spMkLst>
        </pc:spChg>
      </pc:sld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197"/>
            <ac:spMk id="3" creationId="{86ADA595-92A9-4B98-AA7B-ECE1B6F95693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704198180" sldId="214748543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877979419" sldId="214748543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702998540" sldId="2147485434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197"/>
              <pc:sldLayoutMk cId="1937485406" sldId="2147485456"/>
              <ac:spMk id="6" creationId="{DDFE140B-D48C-4542-AB7E-EC12FA7CAB7D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265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46503039" sldId="2147485420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67355973" sldId="2147485421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541776082" sldId="2147485422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4243939519" sldId="2147485423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66643189" sldId="2147485424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43247085" sldId="2147485425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215802079" sldId="2147485426"/>
              <ac:spMk id="6" creationId="{01EC90E8-E6A1-4A45-921A-67BA2F740C3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677689056" sldId="2147485427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327675959" sldId="2147485428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771157" sldId="2147485429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99829524" sldId="2147485430"/>
              <ac:spMk id="10" creationId="{CD77D376-7501-4564-AFC5-83059576ED8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260782398" sldId="2147485431"/>
              <ac:spMk id="5" creationId="{EB64D53C-7535-4621-AFA7-7A0AA33DD89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008229247" sldId="2147485435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190349779" sldId="2147485436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948999294" sldId="2147485437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945124825" sldId="2147485438"/>
              <ac:spMk id="131" creationId="{2F36408E-D97D-41AB-9217-63C225FBC9D3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186141086" sldId="214748543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811448663" sldId="214748544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4236030168" sldId="2147485473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800192375" sldId="2147485474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21831333" sldId="2147485475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54914800" sldId="2147485476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390014269" sldId="2147485477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1043177" sldId="2147485478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360800877" sldId="2147485479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852068353" sldId="2147485480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93598170" sldId="2147485481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972359068" sldId="2147485482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640306923" sldId="2147485483"/>
              <ac:spMk id="131" creationId="{2F36408E-D97D-41AB-9217-63C225FBC9D3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63043116" sldId="2147485484"/>
              <ac:spMk id="6" creationId="{01EC90E8-E6A1-4A45-921A-67BA2F740C3C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98753849" sldId="2147485485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438850930" sldId="2147485486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706606857" sldId="2147485487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917981392" sldId="2147485488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9598226" sldId="2147485489"/>
              <ac:spMk id="10" creationId="{CD77D376-7501-4564-AFC5-83059576ED82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220625988" sldId="214748549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828316098" sldId="2147485491"/>
              <ac:spMk id="5" creationId="{EB64D53C-7535-4621-AFA7-7A0AA33DD89A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255986698" sldId="214748549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77033691" sldId="214748549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20978242" sldId="214748552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542283950" sldId="2147485524"/>
          </pc:sldLayoutMkLst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3915509286" sldId="2147485497"/>
            <ac:spMk id="3" creationId="{00000000-0000-0000-0000-000000000000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501497102" sldId="2147485498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2137470043" sldId="214748549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190218781" sldId="214748550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3915509286" sldId="2147485497"/>
              <pc:sldLayoutMk cId="1469744704" sldId="2147485502"/>
              <ac:spMk id="5" creationId="{53839AA5-571F-4D76-B0CB-5D74C2020062}"/>
            </ac:spMkLst>
          </pc:spChg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899707FB-59FB-EE9F-45F1-202D31171D53}"/>
    <pc:docChg chg="mod addSld delSld modSld modMainMaster setSldSz">
      <pc:chgData name="Revocatus Washington Paul" userId="S::catuspaul_gmail.com#ext#@worldbankgroup.onmicrosoft.com::b13f5400-0b53-417f-9ea3-8ee32bb124d8" providerId="AD" clId="Web-{899707FB-59FB-EE9F-45F1-202D31171D53}" dt="2022-03-09T07:10:35.787" v="45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539712035" sldId="2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4" creationId="{D23673E8-12C1-4920-980E-880DA27CB9D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2592262" sldId="257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5" creationId="{02315522-F74C-4F66-AB6E-F6A38E077DE7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3020870" sldId="258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2" creationId="{BFA593CE-D009-491F-9B8E-186C1CE5590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5" creationId="{FED7D9D4-B274-4CB0-9099-9AB19962EB8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3" creationId="{E487931E-8006-4906-9028-C01C28E93AB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5" creationId="{3266C12F-7B37-BA43-8F50-A6CD031FA368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3589282" sldId="261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26581259" sldId="2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26581259" sldId="262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5" creationId="{22B5ADB1-6796-D148-92F8-3202FA6003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2" creationId="{0F590AD0-C866-9742-95BF-694F739C30A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4667375" sldId="2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861721" sldId="2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861721" sldId="264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5" creationId="{22B5ADB1-6796-D148-92F8-3202FA600380}"/>
          </ac:spMkLst>
        </pc:spChg>
        <pc:graphicFrameChg chg="mod modGraphic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7" creationId="{3896BD93-0439-BE4E-8315-0EADC8345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8" creationId="{431CA168-EC67-D04B-BB00-3ECB9327E2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4" creationId="{6798708C-EE63-8C45-8CA5-C8159AF1B7B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6" creationId="{35D99616-398C-094A-93B5-46B590A938C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7" creationId="{F86DC66A-023F-A84D-9F7F-C4C45E51846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56061048" sldId="26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" creationId="{6C614DC0-D4A0-3F4E-B938-8EE44C13F712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56061048" sldId="265"/>
            <ac:spMk id="4" creationId="{0D9D2DF9-2801-AF42-9FAF-2EA7A2C7FE4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5" creationId="{6835BBEB-4E21-654B-9FB4-217D124FF87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6" creationId="{E646D711-9F9D-134B-A368-2784845AFDA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7" creationId="{F8DCAB6B-7F21-914E-AEF1-12ABB1CA081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8" creationId="{D33190D0-C22E-0244-8462-91E91FAC6E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9" creationId="{8940C686-0F99-5347-8B23-1190803EE22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5" creationId="{27F77F7A-0175-5940-BA48-23B58CEFE01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2" creationId="{F04F8952-6327-994E-9CB3-70EDDEAC1D1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3" creationId="{FC3AF28F-66E0-0242-85B7-BFD89CE3996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51976269" sldId="26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01022434" sldId="26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2278478" sldId="26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2278478" sldId="26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9" creationId="{EF46FD93-006D-1841-9BF2-A76B949BB2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0" creationId="{A5D1A0BB-C2B2-B64F-8DA3-211FB43442A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1" creationId="{C2C320BC-0EED-FE4E-A091-F96420DA7C3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1" creationId="{7B1A0B26-22AE-0B48-9D0D-0A0AC1E26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3" creationId="{7C4737B2-BEFF-1F41-A242-BD62ABD8FEB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81752054" sldId="27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81752054" sldId="27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1" creationId="{F5B39EE1-BB9B-424C-9291-6407D24D21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2" creationId="{8C33D614-2387-A049-A2EF-207636334C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3" creationId="{DE3C94E6-FF50-CC42-97EF-1919166259F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19" creationId="{61104B47-EC1A-1A41-A28A-600054A7E1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26" creationId="{8997088E-8B30-2F48-A216-01C3EC7976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9570019" sldId="27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2" creationId="{8C33D614-2387-A049-A2EF-207636334C9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6" creationId="{BAA46B95-FF1B-0E43-AB2F-69F957F9036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8" creationId="{A30E242E-33E1-9449-BB83-2ECEB54725D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7402464" sldId="27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3" creationId="{9B9C703E-6C08-5C49-A9FE-08FADE52217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0" creationId="{5A7ACD5C-89B5-8F47-AA9E-4FA81EAC2C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2" creationId="{3FE30F58-F6F6-CC46-B134-BC0D5128D1C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6" creationId="{E50F0E56-9DA8-0644-BC86-B21A877B124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76614564" sldId="27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3" creationId="{9B9C703E-6C08-5C49-A9FE-08FADE52217B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576614564" sldId="274"/>
            <ac:grpSpMk id="21" creationId="{F9F6E007-DF69-C449-A500-68A239418B6F}"/>
          </ac:grpSpMkLst>
        </pc:gr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6" creationId="{167D94D9-8FA5-5F48-9160-656C50473D7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8" creationId="{54FBFC17-DD1C-EA4F-80BE-0F9D84A4B2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1" creationId="{5ED91778-86AB-0F4C-9E36-365C518082A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3" creationId="{F9B62AE4-8071-6B48-816D-A2BF10DD54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5" creationId="{59C32BD1-317D-D446-9793-F6F7CD95AEC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59914308" sldId="27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7" creationId="{A61B7E26-3D97-FB4C-9737-234BBACCBBF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2" creationId="{3528CCEB-BF16-3043-AEBA-797A4098DA1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6" creationId="{50800E6A-B91F-2848-B4BC-C1D253D2736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59914308" sldId="27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81439180" sldId="27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28" creationId="{0797894D-6BE1-6E4A-9620-8E87A4DDAF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1" creationId="{07AE5D6E-E869-1D4D-9F06-E1115D91B6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5" creationId="{26CAAB11-A4EE-E443-8B4D-C04A2DC052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281439180" sldId="27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6035135" sldId="27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6" creationId="{4283E9EE-54B8-A146-9B5F-6E4D6C962F0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8" creationId="{49EB1013-D5AE-AE45-82D2-AC2A913550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1" creationId="{D4DA7BE1-7A89-9740-80EC-F898B35FA3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3" creationId="{529A3BEE-D152-F54A-B791-B57DA95D8F3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6035135" sldId="277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25696332" sldId="27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7" creationId="{DC4E3700-140D-454D-9105-85EBF95BCD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2" creationId="{61FFB74F-D297-164A-9F18-E5CA3D31F3E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5" creationId="{609F17DB-A40D-134D-B316-ECBC122D070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825696332" sldId="278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6" creationId="{12C720ED-E9D7-0B46-BB4A-78D084DFA00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8" creationId="{A08A2E49-50F1-A14A-9CE4-11F4A8B1A78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11" creationId="{C35C1CC0-864A-9B44-81C5-0E032CEA058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96130260" sldId="279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43936518" sldId="28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7" creationId="{616154AA-7A6C-9F4D-BAA3-433A714AD4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2" creationId="{E4DB8213-20DE-8847-8B8E-7AA532B1BB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4" creationId="{36D26B5A-BE2D-C74A-8E70-DA1B863B88D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6" creationId="{59F1F02E-E34F-8F4E-AA9A-DAA5B86F632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43936518" sldId="280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7997508" sldId="28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6" creationId="{94082C37-8E4C-CF40-8FF2-141D49C802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9" creationId="{5F7FEDAD-4424-5C4F-8894-929EDFE11D2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13" creationId="{26375A10-1943-7341-B4A1-A04468CF2EE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67404387" sldId="28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49391245" sldId="28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6" creationId="{06E0490D-AE1D-C341-8D08-6E3F574173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9" creationId="{1567BE1C-68D2-B444-8CC1-B7FF156EC4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3" creationId="{39ABF7AF-7E32-814B-93DA-66E83AAB45E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47443771" sldId="28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620493443" sldId="28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6" creationId="{404FAFB2-C9BF-9441-81A3-55415B5F1C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7" creationId="{63B5EE57-916D-AF49-9F80-3C9D178639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9" creationId="{F68A214B-F3FB-7B4C-8E80-4D68B0C40E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11" creationId="{0C0D4603-9F2F-4E48-8BED-3E5A527D84A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620493443" sldId="28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50090798" sldId="28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50090798" sldId="28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8" creationId="{AED3D7F2-1427-F44D-AEE1-ACCEB20F2AD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3" creationId="{937303B2-5AE1-B540-89D1-14CD3615A6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7" creationId="{02A611F8-4292-BA4B-8B08-2927A325C17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9" creationId="{DB3C990B-B8F2-004C-BFED-40B0B0AB122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50090798" sldId="28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8456390" sldId="28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8456390" sldId="28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10" creationId="{DDD61ABB-EBDC-FA49-AD27-5698C4A92B7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6" creationId="{32A9E99F-C52D-2947-833A-651D1C8441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9" creationId="{D8DE2264-331A-014E-A9B5-36BF2F5A661A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22223919" sldId="28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5186025" sldId="28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3" creationId="{A2915D3D-5F82-804E-84E4-2931F4DD9DE1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5186025" sldId="28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5" creationId="{555604FE-141D-6645-AB98-E5D4D3C90856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4892308" sldId="29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74050655" sldId="29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74050655" sldId="29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8" creationId="{4B1785D1-25D9-8245-9DA8-B3BA978307CE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74050655" sldId="291"/>
            <ac:picMk id="7" creationId="{12C57E33-EEC0-134A-B946-648A5E294B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40112873" sldId="29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40112873" sldId="29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8" creationId="{4B1785D1-25D9-8245-9DA8-B3BA978307C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18" creationId="{D879A2B5-BC95-2241-8DB6-026988020C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0" creationId="{4CE8987E-CB50-E040-9A29-96A5CDDC05A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40112873" sldId="292"/>
            <ac:picMk id="6" creationId="{3FEE6BFA-BA56-2247-A852-8F6CDA666AE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9800161" sldId="29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9800161" sldId="29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1" creationId="{45A5DD93-A1AF-5746-972E-49A4319FA0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2" creationId="{5451D439-10BE-E943-865B-904BB9B0F6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3" creationId="{5DA73574-BA7B-F048-BB3C-79C26945A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4" creationId="{3D186C8D-CD10-3040-94FB-61A3FEB9D4D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6" creationId="{C07AE6E9-06D3-FB43-A5BA-69474ABEA7D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7" creationId="{164963EE-BED6-0F47-BE8C-CF7269D56B4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3" creationId="{A120109A-1F0C-E547-A644-2A36EDBCAD14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9" creationId="{43768524-9239-FF48-9611-C42710CC8FD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19" creationId="{054B1CEE-4795-7341-89AE-A53424929F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2" creationId="{549DB525-90E9-C743-BF3F-84A6449C27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5" creationId="{ABEA64FF-1E14-DD46-B894-4F6B56F9BBC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7" creationId="{F309D655-1F27-F840-B8FE-9BE6D9161EA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9" creationId="{88BF7E4B-A168-1C41-A6C4-F09759E8E0E1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0" creationId="{1BD2AD53-D1C3-B046-BC21-59AD5A048F72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1" creationId="{C3827F51-8158-8D42-8137-D83B270BBFB8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0995884" sldId="29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0995884" sldId="29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8" creationId="{6D4F0C8F-C955-1944-A577-D6DF9F25E17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0995884" sldId="294"/>
            <ac:picMk id="10" creationId="{46B4D6BB-084C-274D-8535-DBA6BE0DB78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93778490" sldId="29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93778490" sldId="29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6" creationId="{DB6DBBCE-22AE-E542-8844-AB48F83384E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12" creationId="{A2D4085A-7F8A-984B-AE50-5670370128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8002913" sldId="29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8002913" sldId="29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8002913" sldId="296"/>
            <ac:picMk id="8" creationId="{A238EC32-21BF-A746-BC30-55E23D067C3C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044218326" sldId="29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83517966" sldId="29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83517966" sldId="29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83517966" sldId="298"/>
            <ac:picMk id="8" creationId="{A238EC32-21BF-A746-BC30-55E23D067C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9642416" sldId="29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9642416" sldId="29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9642416" sldId="299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17790741" sldId="30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17790741" sldId="30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0" creationId="{34B30F73-EEEF-3D47-BC8D-477E46EEB5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3" creationId="{AA38F203-0968-C343-95F0-A1B2E60EBB1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5" creationId="{592017E5-5CD5-FE49-9EEB-3EF6FE972D0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17790741" sldId="300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00639827" sldId="30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00639827" sldId="30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00639827" sldId="301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861466284" sldId="30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861466284" sldId="30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861466284" sldId="302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26047802" sldId="30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26047802" sldId="30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6" creationId="{FCAB92E5-F791-4C4D-8E31-0420692ADB9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12" creationId="{DB61BE00-278E-7042-BBDC-F9CF152A8E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926047802" sldId="30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33917220" sldId="30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33917220" sldId="30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0" creationId="{3E9F318E-0C8D-F148-9E6D-E6D95E7ACFB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3" creationId="{F11819D3-72DF-6249-93A3-D8A2A8CD020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933917220" sldId="304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95236631" sldId="30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95236631" sldId="30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6" creationId="{AC711BFB-F336-7445-BD03-42C426F0332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12" creationId="{462BA874-DE3D-BB40-9580-A7F7F16D6F0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530554265" sldId="30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" creationId="{0E35C533-CB0A-1A46-9517-CDACEABE50DD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530554265" sldId="306"/>
            <ac:spMk id="4" creationId="{E30F4E22-C3CA-6D43-A136-29B793FD34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5" creationId="{848CC61A-931C-ED46-AE2D-8670254B7CA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8" creationId="{6F60B2D8-B5AB-FA4A-A396-D3121EA05CD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4" creationId="{85BA5CD1-12B3-DA40-A04A-9D8252C13EC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6" creationId="{4FC20876-FC8B-F44E-A5C5-B66ACE434F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1" creationId="{07581260-140B-584F-8F7F-E31279A8D8C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3" creationId="{281309B0-C541-8346-9D12-9D8C6A3F075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5" creationId="{80C7AD8E-2A80-5349-B6DE-46E1412C5E7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1" creationId="{1CE6DB91-3081-2C43-9737-018A45A059E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7" creationId="{8CB93116-33CF-9B44-A7F1-C71D4EBB3DF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530554265" sldId="306"/>
            <ac:picMk id="7" creationId="{0F1EA6E0-2A69-3E4A-A3EF-76A596B3DFB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0" creationId="{33FC326C-B3A9-304C-811C-2846F4915D3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5" creationId="{004A1924-8775-0E4A-BC99-6E157FE85F0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0" creationId="{05996DDC-100D-E14D-9558-FD4E623B8DB7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2" creationId="{731A4371-28D9-4147-8600-7DD0CB71D3E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4" creationId="{61529667-B5EA-9B45-BF82-74F15E914A6D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0" creationId="{E0F4125A-B2B4-4344-B6C1-7F9C13DBC0AA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63826054" sldId="30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63826054" sldId="30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63826054" sldId="307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3704736" sldId="30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3704736" sldId="30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3" creationId="{97475D53-FC47-604D-91FF-825733D4582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5" creationId="{862C17C1-C65A-E041-A4B5-EB34C697793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23954067" sldId="30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23954067" sldId="30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1" creationId="{E50EADCA-CE8B-D24B-A647-60C021402BD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4" creationId="{D1F5D850-FCC4-8D4C-91A0-9DFA814FEB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6" creationId="{7274D8B4-B818-4B44-B2D7-6139C6F73B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8" creationId="{5DC01CDA-C748-284C-8B5F-0D819D4E8FB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40862157" sldId="31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40862157" sldId="311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6681203" sldId="31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6681203" sldId="312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440085736" sldId="31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440085736" sldId="31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2" creationId="{708DEEE8-48CD-DD4D-87E1-E1B6E2381AC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3" creationId="{B69B7CA0-10C4-8B4F-8598-EDAF43DB7386}"/>
          </ac:spMkLst>
        </pc:sp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440085736" sldId="31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61012292" sldId="31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61012292" sldId="31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61012292" sldId="314"/>
            <ac:picMk id="11" creationId="{DAEA8939-905E-F840-A91D-9AB4C2A2158E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819303272" sldId="31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0522131" sldId="31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0522131" sldId="316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5" creationId="{02315522-F74C-4F66-AB6E-F6A38E077DE7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4892408" sldId="31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4892408" sldId="31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4892408" sldId="317"/>
            <ac:picMk id="6" creationId="{8DC8AD0A-2EE5-D241-9F54-6C8C83EDA25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0596042" sldId="31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0596042" sldId="31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0596042" sldId="318"/>
            <ac:picMk id="3" creationId="{59F03D15-36B5-534B-87E1-6AAA47A10A4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74777105" sldId="31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74777105" sldId="31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74777105" sldId="319"/>
            <ac:picMk id="6" creationId="{81E17AF5-A4C7-FF45-BFD1-0901AA2F9107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00250114" sldId="32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00250114" sldId="32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3" creationId="{5619E4FD-92AE-484C-8CC0-FDF9E2B04DC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7" creationId="{5EBE91E1-ACE1-9D4B-AD07-332EF096355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81064406" sldId="32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81064406" sldId="32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6" creationId="{1BAF81B3-6E65-6C49-8869-B9CCD8B922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8" creationId="{4CB7B670-80B9-6E40-AD73-7CF30783315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10" creationId="{962404BD-FCB4-8E4A-823B-8AEBF3E3310F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7170624" sldId="32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6" creationId="{747D641F-D74B-264D-AFAB-0F868C52A05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8" creationId="{773FFC7F-0625-0F40-A4DD-18B7D5023FA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24304825" sldId="32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0" creationId="{FCDEDE1A-832B-0942-A980-9CB37265D50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6" creationId="{AD75D561-C780-F345-9EC8-3DC4B7BAE4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3" creationId="{2936F0DF-51E7-FD48-A0CC-9FA707D1EE3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7" creationId="{E0AA6E0D-1C16-5C4C-BFDF-54DBDF4BF8C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2" creationId="{45EB2325-CF26-B440-B0DB-106BB2EE2C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3" creationId="{310108E3-980E-5148-8787-F0F2B03939F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5" creationId="{06A44D3E-78D4-A44B-B0D7-664806CBF8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7" creationId="{99185F84-F355-C94F-8173-715E1DD609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8" creationId="{B25A230A-0A3E-2643-8B88-FF865359A56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2796959" sldId="32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2796959" sldId="32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6" creationId="{89E0D140-0498-4646-A6CA-CF7ED178201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962039528" sldId="32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382116385" sldId="32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172093184" sldId="32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01364146" sldId="32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01364146" sldId="32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7" creationId="{3E91D370-DDD2-2B47-ADCD-EAD8D6F29C4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5" creationId="{BF3120CE-B4A6-3746-9B1D-C853DA56516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7" creationId="{F3194BD2-5D87-F04B-996C-9F0DE201592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8" creationId="{4D33DC17-F738-214B-A7FC-F915149875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9" creationId="{14952187-59E6-E945-9BEC-8BFBBAF3E76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2" creationId="{5027EA46-7AE4-C14F-BA6D-CBC317D44A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4" creationId="{32B08C12-9484-634F-A48E-853C3A2988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5" creationId="{D716FBEA-F445-B243-BABA-7C4FE5C5778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8" creationId="{E817E83C-4F34-3A49-9DC2-570C3E9448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1" creationId="{6AE1BDE3-15E8-3042-939B-D4C58A36489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5" creationId="{81BF859F-9C13-EE44-8FB4-B138E74DFAB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6" creationId="{316AC704-D677-BB4A-9E71-A7B4800A5A5E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1401364146" sldId="328"/>
            <ac:grpSpMk id="32" creationId="{41F7C7E5-6010-2743-9598-1E0F3F718F88}"/>
          </ac:grpSpMkLst>
        </pc:gr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84531833" sldId="32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84531833" sldId="32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2" creationId="{AFDCD7CD-AA8B-E940-B4CA-9EDDC1C87FF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3" creationId="{26C76BB2-4053-3E43-84A7-B9B2FE1D3D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7" creationId="{0D213952-0DC7-5044-AA06-20666619394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10" creationId="{276E71EE-7D10-154A-91B2-641F6409015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384531833" sldId="329"/>
            <ac:cxnSpMk id="14" creationId="{26BCC9D3-61C6-2A4D-943B-2592FBAD706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86762857" sldId="33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86762857" sldId="33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6" creationId="{1E062A9C-47C1-CD4E-8B8B-04897632BC9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8" creationId="{DEF9431B-A9F7-0646-9CBD-F5B61E08F56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86762857" sldId="330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5117747" sldId="33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5117747" sldId="33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3" creationId="{D5122F1A-09D4-4E40-96BC-858BF078E4A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7" creationId="{E35A6B5D-D3B7-3946-BDA0-6F566869D95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9" creationId="{D6C16C2F-7A00-564B-9D7D-A34539CBA9F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175117747" sldId="331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40371423" sldId="33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40371423" sldId="33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6" creationId="{2C56F2ED-F9D9-6242-BD09-738E3D8E42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8" creationId="{892F2077-7536-9A4E-A549-3775903F293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340371423" sldId="332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5362079" sldId="33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5362079" sldId="33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3" creationId="{49C9BBA2-056C-A046-A020-7B8C023039E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7" creationId="{9942146A-E537-914E-9D4A-AD763B78DF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9" creationId="{B7E5A767-2B11-0541-91EB-4960F06B08F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5362079" sldId="333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01842481" sldId="33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01842481" sldId="33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9" creationId="{BB3B329B-3D41-FE48-BE33-00801BDC032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6" creationId="{FE5DDD97-0001-BA42-9734-81C496A145D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8" creationId="{C8B2417A-99A8-8D44-AB0C-926FF5E4F40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57339580" sldId="33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57339580" sldId="33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6" creationId="{C95D8C77-DC79-7542-91E3-DDE827A3282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8" creationId="{CC13D3DF-0C74-4A49-849A-58F73E8293C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10" creationId="{40BF923B-18EB-1B4E-A17A-69B4CCE11C8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92558059" sldId="33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92558059" sldId="33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3" creationId="{41CA1FCE-8631-2243-9A6C-F8195313CB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7" creationId="{5DB98CEC-B902-F542-AB38-E895A456F6E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9" creationId="{1CBA57AB-0A77-6644-B866-437A2D5085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92558059" sldId="337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07988906" sldId="33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07988906" sldId="33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6" creationId="{3994B19C-2E33-7149-B29C-34EB477EDBA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8" creationId="{216674CF-B575-864E-BCF1-136E5085E67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10" creationId="{914156B0-223F-B641-8D58-741A6FE7C15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07988906" sldId="338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11257722" sldId="33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11257722" sldId="33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3" creationId="{2C4032E4-7429-2D44-9797-593DD11F80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7" creationId="{852659C8-7B9F-9B49-A819-7FD84231864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211257722" sldId="339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69113427" sldId="34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69113427" sldId="34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3" creationId="{A51E28B3-3C6E-994E-9BC2-0B107E2377E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6" creationId="{AD4131FF-BC02-0149-8D48-217931AD601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2" creationId="{177D2BCB-EE23-904E-B58C-6B1C40E53A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5" creationId="{E8668082-2D11-4241-8144-91EE44B2711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32969113" sldId="34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32969113" sldId="34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7" creationId="{CE90258F-2D6A-AD43-9C5F-4939A339DE0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9" creationId="{F6FE218F-A365-7342-8DE9-CBF656FE55E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0" creationId="{C48C3F53-D6E2-114D-AA9D-0B7574C5B8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1" creationId="{95F0DA39-97AF-8A4B-B64A-97E00348F3B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976533686" sldId="34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976533686" sldId="34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7" creationId="{AE4B9C6E-C04E-484B-8597-11FF3C553B9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9" creationId="{19DCB535-49E8-EB47-8A8C-6F6E96BB9A9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0" creationId="{C02BEB45-EA89-0E41-8E81-9F58B4317D2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1" creationId="{05B6E224-55C8-BC4E-8739-6E82E7513B3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4946574" sldId="34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4946574" sldId="34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14" creationId="{4F18B7E7-0131-484B-A38B-E48F06BEB1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54946574" sldId="343"/>
            <ac:picMk id="7" creationId="{7BD85EDA-3504-AD49-8D78-7604D5BAADA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53378438" sldId="34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53378438" sldId="34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6" creationId="{489AC98D-D9ED-9B48-AAE8-920A3CA7C04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1" creationId="{8914FA1E-C237-4947-A095-0CFE9B46834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2" creationId="{7CDBD31C-DD27-414A-AA48-0C4B0B9428D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358782502" sldId="34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358782502" sldId="34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3" creationId="{7BF31179-A838-5649-9ECE-E743A00A86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7" creationId="{53258D6C-D1F4-E440-9FE5-2BA5C0E4E16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358782502" sldId="345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11732116" sldId="34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11732116" sldId="34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6" creationId="{161F233A-9D91-5A43-B224-6D8C4C63769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9" creationId="{871B1632-2B1C-BC4A-8A8D-780B3DB933E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411732116" sldId="346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94643259" sldId="34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94643259" sldId="34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3" creationId="{BB0B0B61-56DC-CA42-B549-FD5ADB80C68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6" creationId="{C872FDEB-E92A-594F-B60C-4821424722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2" creationId="{5D0FD201-EFB7-814F-99E9-21CBA0BA052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4" creationId="{35D3B78E-D921-4746-8666-F07E734E095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674571283" sldId="34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674571283" sldId="34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16" creationId="{25BBD28C-37B6-014C-A5AA-391760B20BE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7" creationId="{94D79045-2E0D-DF4E-88DF-C0C3FE1EBD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0" creationId="{3194837F-B7CD-984E-A1DD-BD9AA0110E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982333163" sldId="35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982333163" sldId="35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15" creationId="{CB3520D7-F296-4F49-B175-6DB1D2E2E34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7" creationId="{471B0276-88C1-9F42-9328-99C18D3CE2D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9" creationId="{C3B9E6DC-88BE-664C-A4F2-4723C038C86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10" creationId="{1878CC8E-5043-D746-A1E5-9EB476B569F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16336217" sldId="35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16336217" sldId="35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3" creationId="{09479DC5-C1B0-754F-AD21-A6107DFD3D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7" creationId="{8E156BAA-BEBF-4744-B863-2D419806762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16336217" sldId="351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818183" sldId="35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818183" sldId="35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3" creationId="{D3538396-AD15-E945-BBFA-CD4E4E7B13F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6" creationId="{1084ABA2-2181-3648-9F0B-25AC2293665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2" creationId="{66C39BFB-3FAF-AA43-A4D6-2220E2B2DE7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5" creationId="{725801DA-FA7E-F941-8B12-D27E2205D87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3" creationId="{A017306C-F8F0-B04F-A118-EB7ADEBE332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7" creationId="{14AF3FB8-F890-6D42-816B-3D9B43589794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3" creationId="{7C71261E-C6E6-AE47-9804-DBF1D7A096A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8" creationId="{2FECBD36-FE2C-4C43-8E77-41D47E851736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568504011" sldId="35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568504011" sldId="35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11" creationId="{B61E0229-3199-9344-BF2B-60EDF6425AE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6" creationId="{BE97124A-467D-DF48-8038-5F6A0F3268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19758586" sldId="35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19758586" sldId="35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0" creationId="{79B4B046-2717-BC49-8B46-065F2544181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1" creationId="{68FA2B16-6406-3740-A34F-51D31A2E7A4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6" creationId="{A0076FEA-26F3-C142-BBFD-F3E39D6B7A7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9" creationId="{8F0709DE-BE71-804E-854A-2D6D326511A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19758586" sldId="35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06402260" sldId="35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2" creationId="{9F8FAFFF-A32B-7742-BCFF-5F44890913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3" creationId="{BB54D70D-C228-6E42-BFDF-EFF5EF8790C7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06402260" sldId="355"/>
            <ac:spMk id="4" creationId="{276BF267-0ACD-F041-B229-63D9A46092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5" creationId="{F6EDEF77-D2E9-F242-9CBC-4B2120B54E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6" creationId="{5AC4A862-8604-084F-87C9-D2FB4881AD2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06402260" sldId="355"/>
            <ac:picMk id="7" creationId="{35239896-8C8B-C940-9746-727D9855709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88053049" sldId="3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88053049" sldId="35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6" creationId="{F07AA498-D4F8-0B4A-A126-7FE4B0ADBEB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2" creationId="{79006372-0ED1-9D40-8D34-DE6795EF0B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6" creationId="{BA1484B0-177D-354E-9E22-785AE74C550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8" creationId="{21612D00-A418-D043-ADDF-AF0CD4BACBC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88053049" sldId="356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0501836" sldId="3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0501836" sldId="35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17" creationId="{BEFC5A31-4B1C-6946-A80F-80A47306287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0" creationId="{11B14229-684B-E640-8FCA-2EF6BF3640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3" creationId="{3D6119F0-25C0-294F-B3CF-F45D9E95618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5" creationId="{2359F221-2841-9644-ACDA-440C4AABBF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0501836" sldId="357"/>
            <ac:cxnSpMk id="8" creationId="{A58C18FD-2B03-F642-8729-838FF160FC40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918405635" sldId="3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2" creationId="{6F428DEF-BC7B-45A2-BAA3-03E55AD44AF2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3" creationId="{6AD38473-9489-4BFC-88D0-1C6A72E33338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425921230" sldId="361"/>
            <ac:spMk id="4" creationId="{A8C646D1-EB38-4266-8119-1E427BFEBB0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5" creationId="{66F02C85-C640-4FA7-9E2E-BA24577BC52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425921230" sldId="361"/>
            <ac:picMk id="7" creationId="{8565D5FD-BA3E-4535-AD22-1F171A5E9CA1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2" creationId="{BD1B06A8-1D0D-4F0B-980A-A1446107348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3829710" sldId="362"/>
            <ac:spMk id="4" creationId="{8080E56D-021E-4EA9-A27B-2FD9F559760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5" creationId="{258DFF39-05D4-4903-92F4-2E6F3B75151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48430675" sldId="3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3" creationId="{9E9C2FA6-A852-4003-B484-DB530EC37CF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48430675" sldId="363"/>
            <ac:spMk id="4" creationId="{8A551644-0E40-4C51-8408-39CF75D9818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5" creationId="{231CF525-C19A-42BE-B43D-7D6FDC3E6321}"/>
          </ac:spMkLst>
        </pc:spChg>
      </pc:sldChg>
      <pc:sldChg chg="addSp delSp modSp new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41046725" sldId="3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2" creationId="{ECF600E7-7337-4721-9926-6BF924691614}"/>
          </ac:spMkLst>
        </pc:spChg>
        <pc:spChg chg="del">
          <ac:chgData name="Revocatus Washington Paul" userId="S::catuspaul_gmail.com#ext#@worldbankgroup.onmicrosoft.com::b13f5400-0b53-417f-9ea3-8ee32bb124d8" providerId="AD" clId="Web-{899707FB-59FB-EE9F-45F1-202D31171D53}" dt="2022-03-09T06:52:27.202" v="19"/>
          <ac:spMkLst>
            <pc:docMk/>
            <pc:sldMk cId="441046725" sldId="364"/>
            <ac:spMk id="3" creationId="{EA51E967-56DD-4242-AF62-4D5843B5482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41046725" sldId="364"/>
            <ac:spMk id="4" creationId="{E41A5437-EC39-4DB5-8909-9D7C222CA5E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5" creationId="{E09A7154-CA42-4B90-B623-4BB1E089C01F}"/>
          </ac:spMkLst>
        </pc:sp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6" creationId="{EA8C830B-A764-4786-9FB4-B0F94B39B738}"/>
          </ac:picMkLst>
        </pc:pic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7" creationId="{C4F57C8B-FEE7-4AA3-9066-C555B387920B}"/>
          </ac:picMkLst>
        </pc:picChg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1:47.153" v="1"/>
        <pc:sldMkLst>
          <pc:docMk/>
          <pc:sldMk cId="1033595403" sldId="364"/>
        </pc:sldMkLst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3:30.534" v="33"/>
        <pc:sldMkLst>
          <pc:docMk/>
          <pc:sldMk cId="1565081808" sldId="365"/>
        </pc:sldMkLst>
      </pc:sld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3" creationId="{86ADA595-92A9-4B98-AA7B-ECE1B6F9569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5" creationId="{ED03B09E-A190-40DB-B7C3-7DF9280DEAF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27" creationId="{D97DBB43-0A59-47D5-A1F5-7059D3682D0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32" creationId="{B860B886-E91D-410D-BF9F-1AE7433ADE34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704198180" sldId="214748543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877979419" sldId="214748543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702998540" sldId="214748543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186141086" sldId="214748543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811448663" sldId="214748544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6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98753849" sldId="214748548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220625988" sldId="214748549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255986698" sldId="214748549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77033691" sldId="214748549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1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20978242" sldId="21474855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542283950" sldId="21474855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2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3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5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27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32" creationId="{00000000-0000-0000-0000-000000000000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501497102" sldId="214748549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2137470043" sldId="214748549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190218781" sldId="214748550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2" creationId="{6DB31535-932A-4C86-AB61-6DE103765D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3" creationId="{6329F0E9-D2AA-48D1-A5BD-8877D68A71C9}"/>
            </ac:spMkLst>
          </pc:spChg>
        </pc:sldLayoutChg>
      </pc:sldMasterChg>
    </pc:docChg>
  </pc:docChgLst>
  <pc:docChgLst>
    <pc:chgData name="Takaaki Masaki" userId="56a88eee-ec65-40f9-8642-be59fd24ba9b" providerId="ADAL" clId="{B854D024-8FF7-452B-B2F9-8E2041F90BBF}"/>
    <pc:docChg chg="undo redo custSel addSld delSld modSld sldOrd">
      <pc:chgData name="Takaaki Masaki" userId="56a88eee-ec65-40f9-8642-be59fd24ba9b" providerId="ADAL" clId="{B854D024-8FF7-452B-B2F9-8E2041F90BBF}" dt="2024-04-16T06:50:45.111" v="8214" actId="1076"/>
      <pc:docMkLst>
        <pc:docMk/>
      </pc:docMkLst>
      <pc:sldChg chg="modSp mod">
        <pc:chgData name="Takaaki Masaki" userId="56a88eee-ec65-40f9-8642-be59fd24ba9b" providerId="ADAL" clId="{B854D024-8FF7-452B-B2F9-8E2041F90BBF}" dt="2024-04-08T01:37:56.683" v="1481" actId="20577"/>
        <pc:sldMkLst>
          <pc:docMk/>
          <pc:sldMk cId="2539712035" sldId="256"/>
        </pc:sldMkLst>
        <pc:spChg chg="mod">
          <ac:chgData name="Takaaki Masaki" userId="56a88eee-ec65-40f9-8642-be59fd24ba9b" providerId="ADAL" clId="{B854D024-8FF7-452B-B2F9-8E2041F90BBF}" dt="2024-04-08T01:37:56.683" v="1481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Takaaki Masaki" userId="56a88eee-ec65-40f9-8642-be59fd24ba9b" providerId="ADAL" clId="{B854D024-8FF7-452B-B2F9-8E2041F90BBF}" dt="2024-04-02T01:29:30.921" v="2"/>
          <ac:spMkLst>
            <pc:docMk/>
            <pc:sldMk cId="2539712035" sldId="256"/>
            <ac:spMk id="4" creationId="{D23673E8-12C1-4920-980E-880DA27CB9D6}"/>
          </ac:spMkLst>
        </pc:spChg>
      </pc:sldChg>
      <pc:sldChg chg="addSp delSp modSp del mod modClrScheme chgLayout">
        <pc:chgData name="Takaaki Masaki" userId="56a88eee-ec65-40f9-8642-be59fd24ba9b" providerId="ADAL" clId="{B854D024-8FF7-452B-B2F9-8E2041F90BBF}" dt="2024-04-16T01:13:56.342" v="5093" actId="47"/>
        <pc:sldMkLst>
          <pc:docMk/>
          <pc:sldMk cId="3352592262" sldId="257"/>
        </pc:sldMkLst>
        <pc:spChg chg="mod">
          <ac:chgData name="Takaaki Masaki" userId="56a88eee-ec65-40f9-8642-be59fd24ba9b" providerId="ADAL" clId="{B854D024-8FF7-452B-B2F9-8E2041F90BBF}" dt="2024-04-16T01:03:15.907" v="4831" actId="20577"/>
          <ac:spMkLst>
            <pc:docMk/>
            <pc:sldMk cId="3352592262" sldId="257"/>
            <ac:spMk id="2" creationId="{90D0FF2E-2620-4EB1-A986-02CA3AA912A8}"/>
          </ac:spMkLst>
        </pc:spChg>
        <pc:spChg chg="del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3" creationId="{B894210C-9002-4DA4-9DD8-4CF05F405920}"/>
          </ac:spMkLst>
        </pc:spChg>
        <pc:spChg chg="mod">
          <ac:chgData name="Takaaki Masaki" userId="56a88eee-ec65-40f9-8642-be59fd24ba9b" providerId="ADAL" clId="{B854D024-8FF7-452B-B2F9-8E2041F90BBF}" dt="2024-04-08T01:38:16.946" v="1482" actId="26606"/>
          <ac:spMkLst>
            <pc:docMk/>
            <pc:sldMk cId="3352592262" sldId="257"/>
            <ac:spMk id="5" creationId="{02315522-F74C-4F66-AB6E-F6A38E077DE7}"/>
          </ac:spMkLst>
        </pc:spChg>
        <pc:spChg chg="add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6" creationId="{D8225931-D0F2-2D66-8544-29315BFBE9E7}"/>
          </ac:spMkLst>
        </pc:spChg>
        <pc:spChg chg="mod">
          <ac:chgData name="Takaaki Masaki" userId="56a88eee-ec65-40f9-8642-be59fd24ba9b" providerId="ADAL" clId="{B854D024-8FF7-452B-B2F9-8E2041F90BBF}" dt="2024-04-11T01:41:03.562" v="2184" actId="20577"/>
          <ac:spMkLst>
            <pc:docMk/>
            <pc:sldMk cId="3352592262" sldId="257"/>
            <ac:spMk id="7" creationId="{6894D879-516E-4970-BF01-A5C807B4E9E3}"/>
          </ac:spMkLst>
        </pc:spChg>
      </pc:sldChg>
      <pc:sldChg chg="modSp mod">
        <pc:chgData name="Takaaki Masaki" userId="56a88eee-ec65-40f9-8642-be59fd24ba9b" providerId="ADAL" clId="{B854D024-8FF7-452B-B2F9-8E2041F90BBF}" dt="2024-04-02T01:54:34.016" v="109" actId="20577"/>
        <pc:sldMkLst>
          <pc:docMk/>
          <pc:sldMk cId="363020870" sldId="258"/>
        </pc:sldMkLst>
        <pc:spChg chg="mod">
          <ac:chgData name="Takaaki Masaki" userId="56a88eee-ec65-40f9-8642-be59fd24ba9b" providerId="ADAL" clId="{B854D024-8FF7-452B-B2F9-8E2041F90BBF}" dt="2024-04-02T01:54:34.016" v="109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02T01:54:38.663" v="112" actId="20577"/>
        <pc:sldMkLst>
          <pc:docMk/>
          <pc:sldMk cId="3961101582" sldId="260"/>
        </pc:sldMkLst>
        <pc:spChg chg="mod">
          <ac:chgData name="Takaaki Masaki" userId="56a88eee-ec65-40f9-8642-be59fd24ba9b" providerId="ADAL" clId="{B854D024-8FF7-452B-B2F9-8E2041F90BBF}" dt="2024-04-02T01:54:38.663" v="112" actId="20577"/>
          <ac:spMkLst>
            <pc:docMk/>
            <pc:sldMk cId="3961101582" sldId="260"/>
            <ac:spMk id="2" creationId="{BFA593CE-D009-491F-9B8E-186C1CE55904}"/>
          </ac:spMkLst>
        </pc:spChg>
      </pc:sldChg>
      <pc:sldChg chg="modSp mod">
        <pc:chgData name="Takaaki Masaki" userId="56a88eee-ec65-40f9-8642-be59fd24ba9b" providerId="ADAL" clId="{B854D024-8FF7-452B-B2F9-8E2041F90BBF}" dt="2024-04-02T01:54:04.112" v="88" actId="20577"/>
        <pc:sldMkLst>
          <pc:docMk/>
          <pc:sldMk cId="553589282" sldId="261"/>
        </pc:sldMkLst>
        <pc:spChg chg="mod">
          <ac:chgData name="Takaaki Masaki" userId="56a88eee-ec65-40f9-8642-be59fd24ba9b" providerId="ADAL" clId="{B854D024-8FF7-452B-B2F9-8E2041F90BBF}" dt="2024-04-02T01:54:04.112" v="88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16T01:37:46.933" v="5743" actId="1076"/>
        <pc:sldMkLst>
          <pc:docMk/>
          <pc:sldMk cId="2126581259" sldId="262"/>
        </pc:sldMkLst>
        <pc:spChg chg="mod">
          <ac:chgData name="Takaaki Masaki" userId="56a88eee-ec65-40f9-8642-be59fd24ba9b" providerId="ADAL" clId="{B854D024-8FF7-452B-B2F9-8E2041F90BBF}" dt="2024-04-02T01:54:13.804" v="94" actId="20577"/>
          <ac:spMkLst>
            <pc:docMk/>
            <pc:sldMk cId="2126581259" sldId="262"/>
            <ac:spMk id="2" creationId="{5F51176E-0EB4-404D-9296-04C17AE93B13}"/>
          </ac:spMkLst>
        </pc:spChg>
        <pc:spChg chg="mod">
          <ac:chgData name="Takaaki Masaki" userId="56a88eee-ec65-40f9-8642-be59fd24ba9b" providerId="ADAL" clId="{B854D024-8FF7-452B-B2F9-8E2041F90BBF}" dt="2024-04-16T01:37:27.241" v="5739" actId="1076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Takaaki Masaki" userId="56a88eee-ec65-40f9-8642-be59fd24ba9b" providerId="ADAL" clId="{B854D024-8FF7-452B-B2F9-8E2041F90BBF}" dt="2024-04-16T01:37:30.748" v="5740" actId="1076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Takaaki Masaki" userId="56a88eee-ec65-40f9-8642-be59fd24ba9b" providerId="ADAL" clId="{B854D024-8FF7-452B-B2F9-8E2041F90BBF}" dt="2024-04-16T01:37:34.386" v="5741" actId="1076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Takaaki Masaki" userId="56a88eee-ec65-40f9-8642-be59fd24ba9b" providerId="ADAL" clId="{B854D024-8FF7-452B-B2F9-8E2041F90BBF}" dt="2024-04-16T01:37:40.377" v="5742" actId="1076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Takaaki Masaki" userId="56a88eee-ec65-40f9-8642-be59fd24ba9b" providerId="ADAL" clId="{B854D024-8FF7-452B-B2F9-8E2041F90BBF}" dt="2024-04-16T01:37:46.933" v="5743" actId="1076"/>
          <ac:spMkLst>
            <pc:docMk/>
            <pc:sldMk cId="2126581259" sldId="262"/>
            <ac:spMk id="12" creationId="{0F590AD0-C866-9742-95BF-694F739C30A6}"/>
          </ac:spMkLst>
        </pc:spChg>
      </pc:sldChg>
      <pc:sldChg chg="delSp modSp mod">
        <pc:chgData name="Takaaki Masaki" userId="56a88eee-ec65-40f9-8642-be59fd24ba9b" providerId="ADAL" clId="{B854D024-8FF7-452B-B2F9-8E2041F90BBF}" dt="2024-04-02T01:54:16.945" v="97" actId="20577"/>
        <pc:sldMkLst>
          <pc:docMk/>
          <pc:sldMk cId="194667375" sldId="263"/>
        </pc:sldMkLst>
        <pc:spChg chg="mod">
          <ac:chgData name="Takaaki Masaki" userId="56a88eee-ec65-40f9-8642-be59fd24ba9b" providerId="ADAL" clId="{B854D024-8FF7-452B-B2F9-8E2041F90BBF}" dt="2024-04-02T01:54:16.945" v="97" actId="20577"/>
          <ac:spMkLst>
            <pc:docMk/>
            <pc:sldMk cId="194667375" sldId="263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30:39.242" v="4" actId="478"/>
          <ac:spMkLst>
            <pc:docMk/>
            <pc:sldMk cId="194667375" sldId="263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0:43.591" v="6" actId="478"/>
          <ac:spMkLst>
            <pc:docMk/>
            <pc:sldMk cId="194667375" sldId="263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0:40.811" v="5" actId="478"/>
          <ac:spMkLst>
            <pc:docMk/>
            <pc:sldMk cId="194667375" sldId="263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854D024-8FF7-452B-B2F9-8E2041F90BBF}" dt="2024-04-02T01:54:21.496" v="100" actId="20577"/>
        <pc:sldMkLst>
          <pc:docMk/>
          <pc:sldMk cId="25861721" sldId="264"/>
        </pc:sldMkLst>
        <pc:spChg chg="mod">
          <ac:chgData name="Takaaki Masaki" userId="56a88eee-ec65-40f9-8642-be59fd24ba9b" providerId="ADAL" clId="{B854D024-8FF7-452B-B2F9-8E2041F90BBF}" dt="2024-04-02T01:54:21.496" v="100" actId="20577"/>
          <ac:spMkLst>
            <pc:docMk/>
            <pc:sldMk cId="25861721" sldId="264"/>
            <ac:spMk id="2" creationId="{5F51176E-0EB4-404D-9296-04C17AE93B13}"/>
          </ac:spMkLst>
        </pc:spChg>
      </pc:sldChg>
      <pc:sldChg chg="modSp mod">
        <pc:chgData name="Takaaki Masaki" userId="56a88eee-ec65-40f9-8642-be59fd24ba9b" providerId="ADAL" clId="{B854D024-8FF7-452B-B2F9-8E2041F90BBF}" dt="2024-04-16T06:32:50.030" v="7904" actId="255"/>
        <pc:sldMkLst>
          <pc:docMk/>
          <pc:sldMk cId="4156061048" sldId="265"/>
        </pc:sldMkLst>
        <pc:spChg chg="mod">
          <ac:chgData name="Takaaki Masaki" userId="56a88eee-ec65-40f9-8642-be59fd24ba9b" providerId="ADAL" clId="{B854D024-8FF7-452B-B2F9-8E2041F90BBF}" dt="2024-04-02T01:54:29.289" v="106" actId="20577"/>
          <ac:spMkLst>
            <pc:docMk/>
            <pc:sldMk cId="4156061048" sldId="265"/>
            <ac:spMk id="2" creationId="{6C614DC0-D4A0-3F4E-B938-8EE44C13F712}"/>
          </ac:spMkLst>
        </pc:spChg>
        <pc:spChg chg="mod">
          <ac:chgData name="Takaaki Masaki" userId="56a88eee-ec65-40f9-8642-be59fd24ba9b" providerId="ADAL" clId="{B854D024-8FF7-452B-B2F9-8E2041F90BBF}" dt="2024-04-16T06:32:50.030" v="7904" actId="255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Takaaki Masaki" userId="56a88eee-ec65-40f9-8642-be59fd24ba9b" providerId="ADAL" clId="{B854D024-8FF7-452B-B2F9-8E2041F90BBF}" dt="2024-04-16T06:31:11.103" v="7902" actId="1076"/>
          <ac:picMkLst>
            <pc:docMk/>
            <pc:sldMk cId="4156061048" sldId="265"/>
            <ac:picMk id="23" creationId="{FC3AF28F-66E0-0242-85B7-BFD89CE39962}"/>
          </ac:picMkLst>
        </pc:picChg>
      </pc:sldChg>
      <pc:sldChg chg="delSp modSp mod">
        <pc:chgData name="Takaaki Masaki" userId="56a88eee-ec65-40f9-8642-be59fd24ba9b" providerId="ADAL" clId="{B854D024-8FF7-452B-B2F9-8E2041F90BBF}" dt="2024-04-02T01:54:25.072" v="103" actId="20577"/>
        <pc:sldMkLst>
          <pc:docMk/>
          <pc:sldMk cId="351976269" sldId="266"/>
        </pc:sldMkLst>
        <pc:spChg chg="mod">
          <ac:chgData name="Takaaki Masaki" userId="56a88eee-ec65-40f9-8642-be59fd24ba9b" providerId="ADAL" clId="{B854D024-8FF7-452B-B2F9-8E2041F90BBF}" dt="2024-04-02T01:54:25.072" v="103" actId="20577"/>
          <ac:spMkLst>
            <pc:docMk/>
            <pc:sldMk cId="351976269" sldId="266"/>
            <ac:spMk id="2" creationId="{E01226A3-FD12-4BA7-ABF5-9D408688073E}"/>
          </ac:spMkLst>
        </pc:spChg>
        <pc:spChg chg="del mod">
          <ac:chgData name="Takaaki Masaki" userId="56a88eee-ec65-40f9-8642-be59fd24ba9b" providerId="ADAL" clId="{B854D024-8FF7-452B-B2F9-8E2041F90BBF}" dt="2024-04-02T01:30:59.575" v="9" actId="478"/>
          <ac:spMkLst>
            <pc:docMk/>
            <pc:sldMk cId="351976269" sldId="266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1:03.383" v="11" actId="478"/>
          <ac:spMkLst>
            <pc:docMk/>
            <pc:sldMk cId="351976269" sldId="266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1:01.525" v="10" actId="478"/>
          <ac:spMkLst>
            <pc:docMk/>
            <pc:sldMk cId="351976269" sldId="266"/>
            <ac:spMk id="5" creationId="{690978AD-00A2-4582-B389-CFB3FB3E3D1D}"/>
          </ac:spMkLst>
        </pc:spChg>
      </pc:sldChg>
      <pc:sldChg chg="delSp modSp mod">
        <pc:chgData name="Takaaki Masaki" userId="56a88eee-ec65-40f9-8642-be59fd24ba9b" providerId="ADAL" clId="{B854D024-8FF7-452B-B2F9-8E2041F90BBF}" dt="2024-04-16T00:26:22.850" v="4677" actId="20577"/>
        <pc:sldMkLst>
          <pc:docMk/>
          <pc:sldMk cId="1901022434" sldId="267"/>
        </pc:sldMkLst>
        <pc:spChg chg="mod">
          <ac:chgData name="Takaaki Masaki" userId="56a88eee-ec65-40f9-8642-be59fd24ba9b" providerId="ADAL" clId="{B854D024-8FF7-452B-B2F9-8E2041F90BBF}" dt="2024-04-16T00:26:22.850" v="4677" actId="20577"/>
          <ac:spMkLst>
            <pc:docMk/>
            <pc:sldMk cId="1901022434" sldId="267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54:44.904" v="116" actId="478"/>
          <ac:spMkLst>
            <pc:docMk/>
            <pc:sldMk cId="1901022434" sldId="267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54:48.888" v="118" actId="478"/>
          <ac:spMkLst>
            <pc:docMk/>
            <pc:sldMk cId="1901022434" sldId="267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54:46.797" v="117" actId="478"/>
          <ac:spMkLst>
            <pc:docMk/>
            <pc:sldMk cId="1901022434" sldId="267"/>
            <ac:spMk id="5" creationId="{690978AD-00A2-4582-B389-CFB3FB3E3D1D}"/>
          </ac:spMkLst>
        </pc:spChg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3881752054" sldId="27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2:31:42.088" v="119"/>
              <pc2:cmMkLst xmlns:pc2="http://schemas.microsoft.com/office/powerpoint/2019/9/main/command">
                <pc:docMk/>
                <pc:sldMk cId="3881752054" sldId="270"/>
                <pc2:cmMk id="{898D0A32-260F-444A-9EEB-E4F0905C426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3019570019" sldId="271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17402464" sldId="272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76614564" sldId="274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59914308" sldId="275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281439180" sldId="276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16035135" sldId="277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1825696332" sldId="278"/>
        </pc:sldMkLst>
      </pc:sldChg>
      <pc:sldChg chg="addSp delSp modSp del mod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1796130260" sldId="279"/>
        </pc:sldMkLst>
        <pc:spChg chg="mod">
          <ac:chgData name="Takaaki Masaki" userId="56a88eee-ec65-40f9-8642-be59fd24ba9b" providerId="ADAL" clId="{B854D024-8FF7-452B-B2F9-8E2041F90BBF}" dt="2024-04-02T04:19:39.311" v="129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Takaaki Masaki" userId="56a88eee-ec65-40f9-8642-be59fd24ba9b" providerId="ADAL" clId="{B854D024-8FF7-452B-B2F9-8E2041F90BBF}" dt="2024-04-02T04:19:45.102" v="130" actId="1076"/>
          <ac:spMkLst>
            <pc:docMk/>
            <pc:sldMk cId="1796130260" sldId="279"/>
            <ac:spMk id="32" creationId="{D9C141CA-9F8C-AE41-B7B8-58A80B492D2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19:23.958" v="123"/>
              <pc2:cmMkLst xmlns:pc2="http://schemas.microsoft.com/office/powerpoint/2019/9/main/command">
                <pc:docMk/>
                <pc:sldMk cId="1796130260" sldId="279"/>
                <pc2:cmMk id="{065C3AD0-4E71-4572-9195-9691D1273C12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543936518" sldId="28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0:07.424" v="131"/>
              <pc2:cmMkLst xmlns:pc2="http://schemas.microsoft.com/office/powerpoint/2019/9/main/command">
                <pc:docMk/>
                <pc:sldMk cId="543936518" sldId="280"/>
                <pc2:cmMk id="{489E8E3B-4BA5-4287-A373-1D7097774274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4067997508" sldId="28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1:29.899" v="132"/>
              <pc2:cmMkLst xmlns:pc2="http://schemas.microsoft.com/office/powerpoint/2019/9/main/command">
                <pc:docMk/>
                <pc:sldMk cId="4067997508" sldId="281"/>
                <pc2:cmMk id="{D1D6EB25-FED8-4191-A747-A00406808358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67404387" sldId="282"/>
        </pc:sldMk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2749391245" sldId="2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2:55.039" v="133"/>
              <pc2:cmMkLst xmlns:pc2="http://schemas.microsoft.com/office/powerpoint/2019/9/main/command">
                <pc:docMk/>
                <pc:sldMk cId="2749391245" sldId="283"/>
                <pc2:cmMk id="{89795E58-FD6F-48A0-8F3F-07FE3CD954B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8:16.628" v="2320" actId="47"/>
        <pc:sldMkLst>
          <pc:docMk/>
          <pc:sldMk cId="647443771" sldId="284"/>
        </pc:sldMkLst>
      </pc:sldChg>
      <pc:sldChg chg="del">
        <pc:chgData name="Takaaki Masaki" userId="56a88eee-ec65-40f9-8642-be59fd24ba9b" providerId="ADAL" clId="{B854D024-8FF7-452B-B2F9-8E2041F90BBF}" dt="2024-04-11T03:28:18.476" v="2321" actId="47"/>
        <pc:sldMkLst>
          <pc:docMk/>
          <pc:sldMk cId="3620493443" sldId="285"/>
        </pc:sldMkLst>
      </pc:sldChg>
      <pc:sldChg chg="del">
        <pc:chgData name="Takaaki Masaki" userId="56a88eee-ec65-40f9-8642-be59fd24ba9b" providerId="ADAL" clId="{B854D024-8FF7-452B-B2F9-8E2041F90BBF}" dt="2024-04-11T03:28:20.165" v="2322" actId="47"/>
        <pc:sldMkLst>
          <pc:docMk/>
          <pc:sldMk cId="1750090798" sldId="286"/>
        </pc:sldMkLst>
      </pc:sldChg>
      <pc:sldChg chg="del">
        <pc:chgData name="Takaaki Masaki" userId="56a88eee-ec65-40f9-8642-be59fd24ba9b" providerId="ADAL" clId="{B854D024-8FF7-452B-B2F9-8E2041F90BBF}" dt="2024-04-11T03:28:24.835" v="2323" actId="47"/>
        <pc:sldMkLst>
          <pc:docMk/>
          <pc:sldMk cId="3338456390" sldId="287"/>
        </pc:sldMkLst>
      </pc:sldChg>
      <pc:sldChg chg="delSp modSp mod">
        <pc:chgData name="Takaaki Masaki" userId="56a88eee-ec65-40f9-8642-be59fd24ba9b" providerId="ADAL" clId="{B854D024-8FF7-452B-B2F9-8E2041F90BBF}" dt="2024-04-16T06:33:13.760" v="7906" actId="1076"/>
        <pc:sldMkLst>
          <pc:docMk/>
          <pc:sldMk cId="622223919" sldId="288"/>
        </pc:sldMkLst>
        <pc:spChg chg="mod">
          <ac:chgData name="Takaaki Masaki" userId="56a88eee-ec65-40f9-8642-be59fd24ba9b" providerId="ADAL" clId="{B854D024-8FF7-452B-B2F9-8E2041F90BBF}" dt="2024-04-16T06:33:13.760" v="7906" actId="1076"/>
          <ac:spMkLst>
            <pc:docMk/>
            <pc:sldMk cId="622223919" sldId="288"/>
            <ac:spMk id="2" creationId="{500B4985-5844-4EB1-9DE5-6177B9061EB1}"/>
          </ac:spMkLst>
        </pc:spChg>
        <pc:spChg chg="del">
          <ac:chgData name="Takaaki Masaki" userId="56a88eee-ec65-40f9-8642-be59fd24ba9b" providerId="ADAL" clId="{B854D024-8FF7-452B-B2F9-8E2041F90BBF}" dt="2024-04-16T02:02:55.005" v="6340" actId="478"/>
          <ac:spMkLst>
            <pc:docMk/>
            <pc:sldMk cId="622223919" sldId="288"/>
            <ac:spMk id="3" creationId="{9BD1DEA5-3A2E-4FD9-9036-60D3104EA00D}"/>
          </ac:spMkLst>
        </pc:spChg>
        <pc:spChg chg="del">
          <ac:chgData name="Takaaki Masaki" userId="56a88eee-ec65-40f9-8642-be59fd24ba9b" providerId="ADAL" clId="{B854D024-8FF7-452B-B2F9-8E2041F90BBF}" dt="2024-04-16T02:02:48.900" v="6339" actId="478"/>
          <ac:spMkLst>
            <pc:docMk/>
            <pc:sldMk cId="622223919" sldId="288"/>
            <ac:spMk id="4" creationId="{D23673E8-12C1-4920-980E-880DA27CB9D6}"/>
          </ac:spMkLst>
        </pc:spChg>
        <pc:spChg chg="del">
          <ac:chgData name="Takaaki Masaki" userId="56a88eee-ec65-40f9-8642-be59fd24ba9b" providerId="ADAL" clId="{B854D024-8FF7-452B-B2F9-8E2041F90BBF}" dt="2024-04-16T02:02:47.275" v="6338" actId="478"/>
          <ac:spMkLst>
            <pc:docMk/>
            <pc:sldMk cId="622223919" sldId="288"/>
            <ac:spMk id="5" creationId="{C850804E-FCCC-4283-950A-83B7D00F344A}"/>
          </ac:spMkLst>
        </pc:spChg>
      </pc:sldChg>
      <pc:sldChg chg="add del ord">
        <pc:chgData name="Takaaki Masaki" userId="56a88eee-ec65-40f9-8642-be59fd24ba9b" providerId="ADAL" clId="{B854D024-8FF7-452B-B2F9-8E2041F90BBF}" dt="2024-04-11T03:34:49.452" v="2435" actId="47"/>
        <pc:sldMkLst>
          <pc:docMk/>
          <pc:sldMk cId="135186025" sldId="289"/>
        </pc:sldMkLst>
      </pc:sldChg>
      <pc:sldChg chg="delSp modSp add del mod ord">
        <pc:chgData name="Takaaki Masaki" userId="56a88eee-ec65-40f9-8642-be59fd24ba9b" providerId="ADAL" clId="{B854D024-8FF7-452B-B2F9-8E2041F90BBF}" dt="2024-04-11T03:35:11.976" v="2443" actId="20577"/>
        <pc:sldMkLst>
          <pc:docMk/>
          <pc:sldMk cId="554892308" sldId="290"/>
        </pc:sldMkLst>
        <pc:spChg chg="mod">
          <ac:chgData name="Takaaki Masaki" userId="56a88eee-ec65-40f9-8642-be59fd24ba9b" providerId="ADAL" clId="{B854D024-8FF7-452B-B2F9-8E2041F90BBF}" dt="2024-04-11T03:35:11.976" v="2443" actId="20577"/>
          <ac:spMkLst>
            <pc:docMk/>
            <pc:sldMk cId="554892308" sldId="290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3:35:05.512" v="2438" actId="478"/>
          <ac:spMkLst>
            <pc:docMk/>
            <pc:sldMk cId="554892308" sldId="290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11T03:35:09.986" v="2440" actId="478"/>
          <ac:spMkLst>
            <pc:docMk/>
            <pc:sldMk cId="554892308" sldId="290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11T03:35:07.550" v="2439" actId="478"/>
          <ac:spMkLst>
            <pc:docMk/>
            <pc:sldMk cId="554892308" sldId="290"/>
            <ac:spMk id="5" creationId="{690978AD-00A2-4582-B389-CFB3FB3E3D1D}"/>
          </ac:spMkLst>
        </pc:spChg>
      </pc:sldChg>
      <pc:sldChg chg="modSp del mod ord">
        <pc:chgData name="Takaaki Masaki" userId="56a88eee-ec65-40f9-8642-be59fd24ba9b" providerId="ADAL" clId="{B854D024-8FF7-452B-B2F9-8E2041F90BBF}" dt="2024-04-11T03:35:58.981" v="2446" actId="47"/>
        <pc:sldMkLst>
          <pc:docMk/>
          <pc:sldMk cId="3274050655" sldId="291"/>
        </pc:sldMkLst>
        <pc:spChg chg="mod">
          <ac:chgData name="Takaaki Masaki" userId="56a88eee-ec65-40f9-8642-be59fd24ba9b" providerId="ADAL" clId="{B854D024-8FF7-452B-B2F9-8E2041F90BBF}" dt="2024-04-11T03:35:18.780" v="2444" actId="1076"/>
          <ac:spMkLst>
            <pc:docMk/>
            <pc:sldMk cId="3274050655" sldId="291"/>
            <ac:spMk id="8" creationId="{4B1785D1-25D9-8245-9DA8-B3BA978307CE}"/>
          </ac:spMkLst>
        </pc:spChg>
      </pc:sldChg>
      <pc:sldChg chg="modSp mod ord">
        <pc:chgData name="Takaaki Masaki" userId="56a88eee-ec65-40f9-8642-be59fd24ba9b" providerId="ADAL" clId="{B854D024-8FF7-452B-B2F9-8E2041F90BBF}" dt="2024-04-11T03:35:43.714" v="2445" actId="1076"/>
        <pc:sldMkLst>
          <pc:docMk/>
          <pc:sldMk cId="3240112873" sldId="292"/>
        </pc:sldMkLst>
        <pc:spChg chg="mod">
          <ac:chgData name="Takaaki Masaki" userId="56a88eee-ec65-40f9-8642-be59fd24ba9b" providerId="ADAL" clId="{B854D024-8FF7-452B-B2F9-8E2041F90BBF}" dt="2024-04-11T03:35:43.714" v="2445" actId="1076"/>
          <ac:spMkLst>
            <pc:docMk/>
            <pc:sldMk cId="3240112873" sldId="292"/>
            <ac:spMk id="8" creationId="{4B1785D1-25D9-8245-9DA8-B3BA978307CE}"/>
          </ac:spMkLst>
        </pc:spChg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1719800161" sldId="293"/>
        </pc:sldMkLst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3010995884" sldId="294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793778490" sldId="295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78002913" sldId="296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044218326" sldId="29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83517966" sldId="298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593081023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39642416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2017790741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94738905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077525867" sldId="301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1200639827" sldId="301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73261697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861466284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26047802" sldId="303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4143221222" sldId="303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933917220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672455183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940653726" sldId="30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95236631" sldId="305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737049154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3530554265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763826054" sldId="307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14678627" sldId="30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33704736" sldId="308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023954067" sldId="309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40862157" sldId="311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86681203" sldId="31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440085736" sldId="313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561012292" sldId="31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19303272" sldId="31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0522131" sldId="31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14892408" sldId="31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0596042" sldId="31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74777105" sldId="31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800250114" sldId="32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081064406" sldId="32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170624" sldId="32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924304825" sldId="32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2796959" sldId="32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62039528" sldId="32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82116385" sldId="32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2093184" sldId="32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84531833" sldId="32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586762857" sldId="33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175117747" sldId="33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340371423" sldId="33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05362079" sldId="33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801842481" sldId="33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57339580" sldId="33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92558059" sldId="33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07988906" sldId="33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211257722" sldId="33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69113427" sldId="34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32969113" sldId="34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76533686" sldId="34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54946574" sldId="34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53378438" sldId="34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58782502" sldId="34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411732116" sldId="34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94643259" sldId="34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674571283" sldId="34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982333163" sldId="35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716336217" sldId="35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818183" sldId="35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568504011" sldId="35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19758586" sldId="35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339945768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06402260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788053049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51927640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402734748" sldId="357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230501836" sldId="357"/>
        </pc:sldMkLst>
      </pc:sldChg>
      <pc:sldChg chg="delSp modSp mod">
        <pc:chgData name="Takaaki Masaki" userId="56a88eee-ec65-40f9-8642-be59fd24ba9b" providerId="ADAL" clId="{B854D024-8FF7-452B-B2F9-8E2041F90BBF}" dt="2024-04-11T01:45:53.236" v="2305" actId="478"/>
        <pc:sldMkLst>
          <pc:docMk/>
          <pc:sldMk cId="3918405635" sldId="358"/>
        </pc:sldMkLst>
        <pc:spChg chg="mod">
          <ac:chgData name="Takaaki Masaki" userId="56a88eee-ec65-40f9-8642-be59fd24ba9b" providerId="ADAL" clId="{B854D024-8FF7-452B-B2F9-8E2041F90BBF}" dt="2024-04-02T01:54:09.312" v="91" actId="20577"/>
          <ac:spMkLst>
            <pc:docMk/>
            <pc:sldMk cId="3918405635" sldId="358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1:45:53.236" v="2305" actId="478"/>
          <ac:spMkLst>
            <pc:docMk/>
            <pc:sldMk cId="3918405635" sldId="358"/>
            <ac:spMk id="4" creationId="{1EE6E14C-DFEC-4A41-972C-3C099E1C11EF}"/>
          </ac:spMkLst>
        </pc:spChg>
      </pc:sldChg>
      <pc:sldChg chg="del">
        <pc:chgData name="Takaaki Masaki" userId="56a88eee-ec65-40f9-8642-be59fd24ba9b" providerId="ADAL" clId="{B854D024-8FF7-452B-B2F9-8E2041F90BBF}" dt="2024-04-11T03:25:26.569" v="2318" actId="47"/>
        <pc:sldMkLst>
          <pc:docMk/>
          <pc:sldMk cId="3425921230" sldId="361"/>
        </pc:sldMkLst>
      </pc:sldChg>
      <pc:sldChg chg="addSp delSp modSp del mod">
        <pc:chgData name="Takaaki Masaki" userId="56a88eee-ec65-40f9-8642-be59fd24ba9b" providerId="ADAL" clId="{B854D024-8FF7-452B-B2F9-8E2041F90BBF}" dt="2024-04-16T01:36:42.261" v="5678" actId="2696"/>
        <pc:sldMkLst>
          <pc:docMk/>
          <pc:sldMk cId="53829710" sldId="362"/>
        </pc:sldMkLst>
        <pc:spChg chg="mod">
          <ac:chgData name="Takaaki Masaki" userId="56a88eee-ec65-40f9-8642-be59fd24ba9b" providerId="ADAL" clId="{B854D024-8FF7-452B-B2F9-8E2041F90BBF}" dt="2024-04-16T01:36:25.469" v="5677" actId="20577"/>
          <ac:spMkLst>
            <pc:docMk/>
            <pc:sldMk cId="53829710" sldId="362"/>
            <ac:spMk id="2" creationId="{BD1B06A8-1D0D-4F0B-980A-A14461073483}"/>
          </ac:spMkLst>
        </pc:spChg>
        <pc:spChg chg="add del">
          <ac:chgData name="Takaaki Masaki" userId="56a88eee-ec65-40f9-8642-be59fd24ba9b" providerId="ADAL" clId="{B854D024-8FF7-452B-B2F9-8E2041F90BBF}" dt="2024-04-11T01:44:10.992" v="2186" actId="22"/>
          <ac:spMkLst>
            <pc:docMk/>
            <pc:sldMk cId="53829710" sldId="362"/>
            <ac:spMk id="4" creationId="{9F33E31C-A3C7-962E-F69D-CB36C758E6B1}"/>
          </ac:spMkLst>
        </pc:spChg>
        <pc:spChg chg="add mod">
          <ac:chgData name="Takaaki Masaki" userId="56a88eee-ec65-40f9-8642-be59fd24ba9b" providerId="ADAL" clId="{B854D024-8FF7-452B-B2F9-8E2041F90BBF}" dt="2024-04-11T01:45:46.319" v="2304" actId="1076"/>
          <ac:spMkLst>
            <pc:docMk/>
            <pc:sldMk cId="53829710" sldId="362"/>
            <ac:spMk id="9" creationId="{8679CAA1-FC63-0AE8-7C8B-4E27B44281CB}"/>
          </ac:spMkLst>
        </pc:spChg>
        <pc:picChg chg="del">
          <ac:chgData name="Takaaki Masaki" userId="56a88eee-ec65-40f9-8642-be59fd24ba9b" providerId="ADAL" clId="{B854D024-8FF7-452B-B2F9-8E2041F90BBF}" dt="2024-04-11T01:40:37.170" v="2167" actId="478"/>
          <ac:picMkLst>
            <pc:docMk/>
            <pc:sldMk cId="53829710" sldId="362"/>
            <ac:picMk id="6" creationId="{047CDA6B-DB73-4FE0-ABF6-FD371435576A}"/>
          </ac:picMkLst>
        </pc:picChg>
        <pc:picChg chg="add mod">
          <ac:chgData name="Takaaki Masaki" userId="56a88eee-ec65-40f9-8642-be59fd24ba9b" providerId="ADAL" clId="{B854D024-8FF7-452B-B2F9-8E2041F90BBF}" dt="2024-04-11T01:45:41.187" v="2302" actId="1076"/>
          <ac:picMkLst>
            <pc:docMk/>
            <pc:sldMk cId="53829710" sldId="362"/>
            <ac:picMk id="1026" creationId="{236D83F9-59DA-BDEC-B0F6-570DC130A863}"/>
          </ac:picMkLst>
        </pc:picChg>
      </pc:sldChg>
      <pc:sldChg chg="add">
        <pc:chgData name="Takaaki Masaki" userId="56a88eee-ec65-40f9-8642-be59fd24ba9b" providerId="ADAL" clId="{B854D024-8FF7-452B-B2F9-8E2041F90BBF}" dt="2024-04-16T01:36:45.553" v="5679"/>
        <pc:sldMkLst>
          <pc:docMk/>
          <pc:sldMk cId="2702912933" sldId="36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248430675" sldId="36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22011094" sldId="36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43904794" sldId="36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295440831" sldId="367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209748277" sldId="36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632203755" sldId="368"/>
        </pc:sldMkLst>
      </pc:sldChg>
      <pc:sldChg chg="modSp new del mod">
        <pc:chgData name="Takaaki Masaki" userId="56a88eee-ec65-40f9-8642-be59fd24ba9b" providerId="ADAL" clId="{B854D024-8FF7-452B-B2F9-8E2041F90BBF}" dt="2024-04-08T01:16:35.466" v="1336" actId="47"/>
        <pc:sldMkLst>
          <pc:docMk/>
          <pc:sldMk cId="3690197123" sldId="368"/>
        </pc:sldMkLst>
        <pc:spChg chg="mod">
          <ac:chgData name="Takaaki Masaki" userId="56a88eee-ec65-40f9-8642-be59fd24ba9b" providerId="ADAL" clId="{B854D024-8FF7-452B-B2F9-8E2041F90BBF}" dt="2024-04-02T01:53:33.607" v="84" actId="1076"/>
          <ac:spMkLst>
            <pc:docMk/>
            <pc:sldMk cId="3690197123" sldId="368"/>
            <ac:spMk id="2" creationId="{C8B9D152-58AC-5A3A-298B-64C6ADA37456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1:23:20.029" v="5467" actId="20577"/>
        <pc:sldMkLst>
          <pc:docMk/>
          <pc:sldMk cId="1601593105" sldId="369"/>
        </pc:sldMkLst>
        <pc:spChg chg="mod">
          <ac:chgData name="Takaaki Masaki" userId="56a88eee-ec65-40f9-8642-be59fd24ba9b" providerId="ADAL" clId="{B854D024-8FF7-452B-B2F9-8E2041F90BBF}" dt="2024-04-16T01:23:20.029" v="5467" actId="20577"/>
          <ac:spMkLst>
            <pc:docMk/>
            <pc:sldMk cId="1601593105" sldId="369"/>
            <ac:spMk id="2" creationId="{C8B9D152-58AC-5A3A-298B-64C6ADA37456}"/>
          </ac:spMkLst>
        </pc:spChg>
        <pc:spChg chg="mod">
          <ac:chgData name="Takaaki Masaki" userId="56a88eee-ec65-40f9-8642-be59fd24ba9b" providerId="ADAL" clId="{B854D024-8FF7-452B-B2F9-8E2041F90BBF}" dt="2024-04-08T01:37:23.201" v="1461" actId="20577"/>
          <ac:spMkLst>
            <pc:docMk/>
            <pc:sldMk cId="1601593105" sldId="369"/>
            <ac:spMk id="3" creationId="{E768A0A2-3C71-0906-94BC-4F491BDAE061}"/>
          </ac:spMkLst>
        </pc:spChg>
        <pc:spChg chg="add del mod">
          <ac:chgData name="Takaaki Masaki" userId="56a88eee-ec65-40f9-8642-be59fd24ba9b" providerId="ADAL" clId="{B854D024-8FF7-452B-B2F9-8E2041F90BBF}" dt="2024-04-11T01:39:13.393" v="2115" actId="478"/>
          <ac:spMkLst>
            <pc:docMk/>
            <pc:sldMk cId="1601593105" sldId="369"/>
            <ac:spMk id="7" creationId="{540D29F3-BDCD-1BE4-5F7A-361CBB92DD82}"/>
          </ac:spMkLst>
        </pc:spChg>
        <pc:picChg chg="add del mod">
          <ac:chgData name="Takaaki Masaki" userId="56a88eee-ec65-40f9-8642-be59fd24ba9b" providerId="ADAL" clId="{B854D024-8FF7-452B-B2F9-8E2041F90BBF}" dt="2024-04-08T01:37:08.415" v="1457" actId="21"/>
          <ac:picMkLst>
            <pc:docMk/>
            <pc:sldMk cId="1601593105" sldId="369"/>
            <ac:picMk id="6" creationId="{20B55AB3-CED4-9EBB-861F-D6C26FD4D7A5}"/>
          </ac:picMkLst>
        </pc:picChg>
        <pc:picChg chg="add mod">
          <ac:chgData name="Takaaki Masaki" userId="56a88eee-ec65-40f9-8642-be59fd24ba9b" providerId="ADAL" clId="{B854D024-8FF7-452B-B2F9-8E2041F90BBF}" dt="2024-04-11T01:39:47.459" v="2119" actId="1076"/>
          <ac:picMkLst>
            <pc:docMk/>
            <pc:sldMk cId="1601593105" sldId="369"/>
            <ac:picMk id="8" creationId="{ED53540A-7A6C-F8F1-B228-0D87780F33E2}"/>
          </ac:picMkLst>
        </pc:pic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3839835046" sldId="370"/>
        </pc:sldMkLst>
        <pc:spChg chg="mod">
          <ac:chgData name="Takaaki Masaki" userId="56a88eee-ec65-40f9-8642-be59fd24ba9b" providerId="ADAL" clId="{B854D024-8FF7-452B-B2F9-8E2041F90BBF}" dt="2024-04-02T04:30:41.811" v="143" actId="20577"/>
          <ac:spMkLst>
            <pc:docMk/>
            <pc:sldMk cId="3839835046" sldId="370"/>
            <ac:spMk id="2" creationId="{11F3D673-23F7-8542-A7C5-1E36DF2E332F}"/>
          </ac:spMkLst>
        </pc:sp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2431564066" sldId="371"/>
        </pc:sldMkLst>
        <pc:spChg chg="mod">
          <ac:chgData name="Takaaki Masaki" userId="56a88eee-ec65-40f9-8642-be59fd24ba9b" providerId="ADAL" clId="{B854D024-8FF7-452B-B2F9-8E2041F90BBF}" dt="2024-04-02T04:30:59.918" v="161" actId="20577"/>
          <ac:spMkLst>
            <pc:docMk/>
            <pc:sldMk cId="2431564066" sldId="371"/>
            <ac:spMk id="2" creationId="{A1364717-9A16-1BA0-F61D-0CF429D6D9D0}"/>
          </ac:spMkLst>
        </pc:spChg>
      </pc:sldChg>
      <pc:sldChg chg="new del">
        <pc:chgData name="Takaaki Masaki" userId="56a88eee-ec65-40f9-8642-be59fd24ba9b" providerId="ADAL" clId="{B854D024-8FF7-452B-B2F9-8E2041F90BBF}" dt="2024-04-02T04:32:33.458" v="166" actId="47"/>
        <pc:sldMkLst>
          <pc:docMk/>
          <pc:sldMk cId="1744320842" sldId="372"/>
        </pc:sldMkLst>
      </pc:sldChg>
      <pc:sldChg chg="modSp add del mod">
        <pc:chgData name="Takaaki Masaki" userId="56a88eee-ec65-40f9-8642-be59fd24ba9b" providerId="ADAL" clId="{B854D024-8FF7-452B-B2F9-8E2041F90BBF}" dt="2024-04-02T04:32:58.467" v="185" actId="47"/>
        <pc:sldMkLst>
          <pc:docMk/>
          <pc:sldMk cId="1975174664" sldId="372"/>
        </pc:sldMkLst>
        <pc:spChg chg="mod">
          <ac:chgData name="Takaaki Masaki" userId="56a88eee-ec65-40f9-8642-be59fd24ba9b" providerId="ADAL" clId="{B854D024-8FF7-452B-B2F9-8E2041F90BBF}" dt="2024-04-02T04:32:55.788" v="184" actId="20577"/>
          <ac:spMkLst>
            <pc:docMk/>
            <pc:sldMk cId="1975174664" sldId="372"/>
            <ac:spMk id="2" creationId="{18772FE0-9CC7-8E4F-A04D-DFD4A2C11F45}"/>
          </ac:spMkLst>
        </pc:spChg>
      </pc:sldChg>
      <pc:sldChg chg="addSp delSp modSp add mod modNotesTx">
        <pc:chgData name="Takaaki Masaki" userId="56a88eee-ec65-40f9-8642-be59fd24ba9b" providerId="ADAL" clId="{B854D024-8FF7-452B-B2F9-8E2041F90BBF}" dt="2024-04-08T02:58:58.039" v="2079" actId="20577"/>
        <pc:sldMkLst>
          <pc:docMk/>
          <pc:sldMk cId="2152984646" sldId="372"/>
        </pc:sldMkLst>
        <pc:spChg chg="mod">
          <ac:chgData name="Takaaki Masaki" userId="56a88eee-ec65-40f9-8642-be59fd24ba9b" providerId="ADAL" clId="{B854D024-8FF7-452B-B2F9-8E2041F90BBF}" dt="2024-04-02T04:33:22.530" v="190" actId="20577"/>
          <ac:spMkLst>
            <pc:docMk/>
            <pc:sldMk cId="2152984646" sldId="372"/>
            <ac:spMk id="2" creationId="{18772FE0-9CC7-8E4F-A04D-DFD4A2C11F45}"/>
          </ac:spMkLst>
        </pc:spChg>
        <pc:spChg chg="add del mod">
          <ac:chgData name="Takaaki Masaki" userId="56a88eee-ec65-40f9-8642-be59fd24ba9b" providerId="ADAL" clId="{B854D024-8FF7-452B-B2F9-8E2041F90BBF}" dt="2024-04-02T04:54:28.410" v="198" actId="478"/>
          <ac:spMkLst>
            <pc:docMk/>
            <pc:sldMk cId="2152984646" sldId="372"/>
            <ac:spMk id="3" creationId="{28E96DFB-5746-B7BA-1B27-78D4BF8E6A8E}"/>
          </ac:spMkLst>
        </pc:spChg>
        <pc:spChg chg="del">
          <ac:chgData name="Takaaki Masaki" userId="56a88eee-ec65-40f9-8642-be59fd24ba9b" providerId="ADAL" clId="{B854D024-8FF7-452B-B2F9-8E2041F90BBF}" dt="2024-04-02T04:33:26.167" v="192" actId="478"/>
          <ac:spMkLst>
            <pc:docMk/>
            <pc:sldMk cId="2152984646" sldId="372"/>
            <ac:spMk id="10" creationId="{DDD61ABB-EBDC-FA49-AD27-5698C4A92B75}"/>
          </ac:spMkLst>
        </pc:spChg>
        <pc:graphicFrameChg chg="add mod modGraphic">
          <ac:chgData name="Takaaki Masaki" userId="56a88eee-ec65-40f9-8642-be59fd24ba9b" providerId="ADAL" clId="{B854D024-8FF7-452B-B2F9-8E2041F90BBF}" dt="2024-04-08T02:58:58.039" v="2079" actId="20577"/>
          <ac:graphicFrameMkLst>
            <pc:docMk/>
            <pc:sldMk cId="2152984646" sldId="372"/>
            <ac:graphicFrameMk id="4" creationId="{BD8B132E-2CD0-E947-E309-6554B4B2688A}"/>
          </ac:graphicFrameMkLst>
        </pc:graphicFrameChg>
        <pc:picChg chg="del">
          <ac:chgData name="Takaaki Masaki" userId="56a88eee-ec65-40f9-8642-be59fd24ba9b" providerId="ADAL" clId="{B854D024-8FF7-452B-B2F9-8E2041F90BBF}" dt="2024-04-02T04:33:28.201" v="193" actId="478"/>
          <ac:picMkLst>
            <pc:docMk/>
            <pc:sldMk cId="2152984646" sldId="372"/>
            <ac:picMk id="6" creationId="{32A9E99F-C52D-2947-833A-651D1C84416C}"/>
          </ac:picMkLst>
        </pc:picChg>
        <pc:picChg chg="del">
          <ac:chgData name="Takaaki Masaki" userId="56a88eee-ec65-40f9-8642-be59fd24ba9b" providerId="ADAL" clId="{B854D024-8FF7-452B-B2F9-8E2041F90BBF}" dt="2024-04-02T04:33:23.961" v="191" actId="478"/>
          <ac:picMkLst>
            <pc:docMk/>
            <pc:sldMk cId="2152984646" sldId="372"/>
            <ac:picMk id="9" creationId="{D8DE2264-331A-014E-A9B5-36BF2F5A661A}"/>
          </ac:picMkLst>
        </pc:picChg>
      </pc:sldChg>
      <pc:sldChg chg="new del">
        <pc:chgData name="Takaaki Masaki" userId="56a88eee-ec65-40f9-8642-be59fd24ba9b" providerId="ADAL" clId="{B854D024-8FF7-452B-B2F9-8E2041F90BBF}" dt="2024-04-02T04:32:43.087" v="168" actId="2696"/>
        <pc:sldMkLst>
          <pc:docMk/>
          <pc:sldMk cId="3190321186" sldId="372"/>
        </pc:sldMkLst>
      </pc:sldChg>
      <pc:sldChg chg="addSp modSp add mod addCm delCm modCm">
        <pc:chgData name="Takaaki Masaki" userId="56a88eee-ec65-40f9-8642-be59fd24ba9b" providerId="ADAL" clId="{B854D024-8FF7-452B-B2F9-8E2041F90BBF}" dt="2024-04-11T05:37:59.705" v="4376"/>
        <pc:sldMkLst>
          <pc:docMk/>
          <pc:sldMk cId="2208884573" sldId="373"/>
        </pc:sldMkLst>
        <pc:spChg chg="add mod">
          <ac:chgData name="Takaaki Masaki" userId="56a88eee-ec65-40f9-8642-be59fd24ba9b" providerId="ADAL" clId="{B854D024-8FF7-452B-B2F9-8E2041F90BBF}" dt="2024-04-09T02:34:20.417" v="2113" actId="20577"/>
          <ac:spMkLst>
            <pc:docMk/>
            <pc:sldMk cId="2208884573" sldId="37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1T05:37:59.705" v="4376"/>
              <pc2:cmMkLst xmlns:pc2="http://schemas.microsoft.com/office/powerpoint/2019/9/main/command">
                <pc:docMk/>
                <pc:sldMk cId="2208884573" sldId="373"/>
                <pc2:cmMk id="{7BD5AC02-09F7-4012-A700-2175F8DAC339}"/>
              </pc2:cmMkLst>
            </pc226:cmChg>
          </p:ext>
        </pc:extLst>
      </pc:sldChg>
      <pc:sldChg chg="add del">
        <pc:chgData name="Takaaki Masaki" userId="56a88eee-ec65-40f9-8642-be59fd24ba9b" providerId="ADAL" clId="{B854D024-8FF7-452B-B2F9-8E2041F90BBF}" dt="2024-04-09T02:34:33.916" v="2114" actId="47"/>
        <pc:sldMkLst>
          <pc:docMk/>
          <pc:sldMk cId="531688885" sldId="374"/>
        </pc:sldMkLst>
      </pc:sldChg>
      <pc:sldChg chg="addSp delSp modSp new mod">
        <pc:chgData name="Takaaki Masaki" userId="56a88eee-ec65-40f9-8642-be59fd24ba9b" providerId="ADAL" clId="{B854D024-8FF7-452B-B2F9-8E2041F90BBF}" dt="2024-04-08T01:37:15.495" v="1460" actId="14100"/>
        <pc:sldMkLst>
          <pc:docMk/>
          <pc:sldMk cId="435072265" sldId="375"/>
        </pc:sldMkLst>
        <pc:spChg chg="mod">
          <ac:chgData name="Takaaki Masaki" userId="56a88eee-ec65-40f9-8642-be59fd24ba9b" providerId="ADAL" clId="{B854D024-8FF7-452B-B2F9-8E2041F90BBF}" dt="2024-04-08T01:23:48.129" v="1439" actId="1076"/>
          <ac:spMkLst>
            <pc:docMk/>
            <pc:sldMk cId="435072265" sldId="375"/>
            <ac:spMk id="2" creationId="{251BFEA5-E3BD-F66C-3D9D-9E4BFE3436A1}"/>
          </ac:spMkLst>
        </pc:spChg>
        <pc:spChg chg="mod">
          <ac:chgData name="Takaaki Masaki" userId="56a88eee-ec65-40f9-8642-be59fd24ba9b" providerId="ADAL" clId="{B854D024-8FF7-452B-B2F9-8E2041F90BBF}" dt="2024-04-08T01:37:15.495" v="1460" actId="14100"/>
          <ac:spMkLst>
            <pc:docMk/>
            <pc:sldMk cId="435072265" sldId="375"/>
            <ac:spMk id="3" creationId="{B7F0B3CF-5933-8DA2-CB89-697D2CFC46EF}"/>
          </ac:spMkLst>
        </pc:spChg>
        <pc:picChg chg="add del mod">
          <ac:chgData name="Takaaki Masaki" userId="56a88eee-ec65-40f9-8642-be59fd24ba9b" providerId="ADAL" clId="{B854D024-8FF7-452B-B2F9-8E2041F90BBF}" dt="2024-04-08T01:36:42.039" v="1450" actId="21"/>
          <ac:picMkLst>
            <pc:docMk/>
            <pc:sldMk cId="435072265" sldId="375"/>
            <ac:picMk id="7" creationId="{74CBEAD9-A4AD-8EBB-A12F-2AC204EA0708}"/>
          </ac:picMkLst>
        </pc:picChg>
        <pc:picChg chg="add mod">
          <ac:chgData name="Takaaki Masaki" userId="56a88eee-ec65-40f9-8642-be59fd24ba9b" providerId="ADAL" clId="{B854D024-8FF7-452B-B2F9-8E2041F90BBF}" dt="2024-04-08T01:37:12.318" v="1459" actId="1076"/>
          <ac:picMkLst>
            <pc:docMk/>
            <pc:sldMk cId="435072265" sldId="375"/>
            <ac:picMk id="8" creationId="{12A3F548-F87F-6D51-9F24-DCA95AE8103F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08T01:43:03.178" v="1530" actId="20577"/>
        <pc:sldMkLst>
          <pc:docMk/>
          <pc:sldMk cId="379973314" sldId="376"/>
        </pc:sldMkLst>
        <pc:spChg chg="del">
          <ac:chgData name="Takaaki Masaki" userId="56a88eee-ec65-40f9-8642-be59fd24ba9b" providerId="ADAL" clId="{B854D024-8FF7-452B-B2F9-8E2041F90BBF}" dt="2024-04-08T01:42:09.035" v="1518" actId="478"/>
          <ac:spMkLst>
            <pc:docMk/>
            <pc:sldMk cId="379973314" sldId="376"/>
            <ac:spMk id="2" creationId="{86A6072E-FFEF-0DB1-B6A1-EA6477595963}"/>
          </ac:spMkLst>
        </pc:spChg>
        <pc:spChg chg="del">
          <ac:chgData name="Takaaki Masaki" userId="56a88eee-ec65-40f9-8642-be59fd24ba9b" providerId="ADAL" clId="{B854D024-8FF7-452B-B2F9-8E2041F90BBF}" dt="2024-04-08T01:41:36.198" v="1512" actId="22"/>
          <ac:spMkLst>
            <pc:docMk/>
            <pc:sldMk cId="379973314" sldId="376"/>
            <ac:spMk id="3" creationId="{F33E71F9-5AC6-A367-A551-A156A3F94CA5}"/>
          </ac:spMkLst>
        </pc:spChg>
        <pc:spChg chg="add mod">
          <ac:chgData name="Takaaki Masaki" userId="56a88eee-ec65-40f9-8642-be59fd24ba9b" providerId="ADAL" clId="{B854D024-8FF7-452B-B2F9-8E2041F90BBF}" dt="2024-04-08T01:43:03.178" v="1530" actId="20577"/>
          <ac:spMkLst>
            <pc:docMk/>
            <pc:sldMk cId="379973314" sldId="376"/>
            <ac:spMk id="8" creationId="{DE2C9ECC-51C8-CC77-DA46-234702AA3CE7}"/>
          </ac:spMkLst>
        </pc:spChg>
        <pc:picChg chg="add mod ord">
          <ac:chgData name="Takaaki Masaki" userId="56a88eee-ec65-40f9-8642-be59fd24ba9b" providerId="ADAL" clId="{B854D024-8FF7-452B-B2F9-8E2041F90BBF}" dt="2024-04-08T01:42:13.942" v="1519" actId="1076"/>
          <ac:picMkLst>
            <pc:docMk/>
            <pc:sldMk cId="379973314" sldId="376"/>
            <ac:picMk id="7" creationId="{C57B807A-35FF-17E8-DA4E-A5C15859FD0D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6T06:30:53.891" v="7901" actId="14100"/>
        <pc:sldMkLst>
          <pc:docMk/>
          <pc:sldMk cId="937766100" sldId="377"/>
        </pc:sldMkLst>
        <pc:spChg chg="add mod">
          <ac:chgData name="Takaaki Masaki" userId="56a88eee-ec65-40f9-8642-be59fd24ba9b" providerId="ADAL" clId="{B854D024-8FF7-452B-B2F9-8E2041F90BBF}" dt="2024-04-16T06:30:53.891" v="7901" actId="14100"/>
          <ac:spMkLst>
            <pc:docMk/>
            <pc:sldMk cId="937766100" sldId="377"/>
            <ac:spMk id="4" creationId="{06E0ED6C-978B-6E84-EB24-287EF0321947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6" creationId="{E646D711-9F9D-134B-A368-2784845AFDAB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7" creationId="{F8DCAB6B-7F21-914E-AEF1-12ABB1CA081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8" creationId="{D33190D0-C22E-0244-8462-91E91FAC6E2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9" creationId="{8940C686-0F99-5347-8B23-1190803EE226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10" creationId="{216AAD36-0F68-4641-BC98-14E6E1C0A2D9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31" creationId="{46856D70-A0FB-D440-A34C-B608A10BE677}"/>
          </ac:spMkLst>
        </pc:sp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2" creationId="{F04F8952-6327-994E-9CB3-70EDDEAC1D12}"/>
          </ac:picMkLst>
        </pc:pic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3" creationId="{FC3AF28F-66E0-0242-85B7-BFD89CE39962}"/>
          </ac:picMkLst>
        </pc:picChg>
        <pc:cxnChg chg="del">
          <ac:chgData name="Takaaki Masaki" userId="56a88eee-ec65-40f9-8642-be59fd24ba9b" providerId="ADAL" clId="{B854D024-8FF7-452B-B2F9-8E2041F90BBF}" dt="2024-04-11T01:46:47.076" v="2310" actId="478"/>
          <ac:cxnSpMkLst>
            <pc:docMk/>
            <pc:sldMk cId="937766100" sldId="377"/>
            <ac:cxnSpMk id="11" creationId="{A0F763A6-D16A-CA41-B41E-865A2CFACBA3}"/>
          </ac:cxnSpMkLst>
        </pc:cxnChg>
      </pc:sldChg>
      <pc:sldChg chg="new del">
        <pc:chgData name="Takaaki Masaki" userId="56a88eee-ec65-40f9-8642-be59fd24ba9b" providerId="ADAL" clId="{B854D024-8FF7-452B-B2F9-8E2041F90BBF}" dt="2024-04-11T01:46:32.613" v="2307" actId="680"/>
        <pc:sldMkLst>
          <pc:docMk/>
          <pc:sldMk cId="1404624491" sldId="377"/>
        </pc:sldMkLst>
      </pc:sldChg>
      <pc:sldChg chg="addSp delSp modSp new mod">
        <pc:chgData name="Takaaki Masaki" userId="56a88eee-ec65-40f9-8642-be59fd24ba9b" providerId="ADAL" clId="{B854D024-8FF7-452B-B2F9-8E2041F90BBF}" dt="2024-04-16T06:15:57.062" v="7887" actId="1076"/>
        <pc:sldMkLst>
          <pc:docMk/>
          <pc:sldMk cId="48660637" sldId="378"/>
        </pc:sldMkLst>
        <pc:spChg chg="add del mod">
          <ac:chgData name="Takaaki Masaki" userId="56a88eee-ec65-40f9-8642-be59fd24ba9b" providerId="ADAL" clId="{B854D024-8FF7-452B-B2F9-8E2041F90BBF}" dt="2024-04-16T06:15:57.062" v="7887" actId="1076"/>
          <ac:spMkLst>
            <pc:docMk/>
            <pc:sldMk cId="48660637" sldId="378"/>
            <ac:spMk id="2" creationId="{4A556D2E-0527-BE41-57DC-C669F14E2A4B}"/>
          </ac:spMkLst>
        </pc:spChg>
        <pc:spChg chg="del mod">
          <ac:chgData name="Takaaki Masaki" userId="56a88eee-ec65-40f9-8642-be59fd24ba9b" providerId="ADAL" clId="{B854D024-8FF7-452B-B2F9-8E2041F90BBF}" dt="2024-04-11T03:29:48.717" v="2377" actId="478"/>
          <ac:spMkLst>
            <pc:docMk/>
            <pc:sldMk cId="48660637" sldId="378"/>
            <ac:spMk id="3" creationId="{D58825C9-30F0-F4F5-ECE6-C43A673CA712}"/>
          </ac:spMkLst>
        </pc:spChg>
        <pc:spChg chg="add mod">
          <ac:chgData name="Takaaki Masaki" userId="56a88eee-ec65-40f9-8642-be59fd24ba9b" providerId="ADAL" clId="{B854D024-8FF7-452B-B2F9-8E2041F90BBF}" dt="2024-04-16T06:15:51.107" v="7886" actId="20577"/>
          <ac:spMkLst>
            <pc:docMk/>
            <pc:sldMk cId="48660637" sldId="378"/>
            <ac:spMk id="3" creationId="{FD1794E8-4B56-0D01-AC0A-0AE1EF46506F}"/>
          </ac:spMkLst>
        </pc:spChg>
        <pc:spChg chg="add mod">
          <ac:chgData name="Takaaki Masaki" userId="56a88eee-ec65-40f9-8642-be59fd24ba9b" providerId="ADAL" clId="{B854D024-8FF7-452B-B2F9-8E2041F90BBF}" dt="2024-04-11T03:29:45.987" v="2376" actId="20577"/>
          <ac:spMkLst>
            <pc:docMk/>
            <pc:sldMk cId="48660637" sldId="378"/>
            <ac:spMk id="6" creationId="{090CA7EE-4B03-6BB9-1C22-E765C4A73454}"/>
          </ac:spMkLst>
        </pc:spChg>
        <pc:spChg chg="add del mod">
          <ac:chgData name="Takaaki Masaki" userId="56a88eee-ec65-40f9-8642-be59fd24ba9b" providerId="ADAL" clId="{B854D024-8FF7-452B-B2F9-8E2041F90BBF}" dt="2024-04-11T03:29:50.909" v="2379"/>
          <ac:spMkLst>
            <pc:docMk/>
            <pc:sldMk cId="48660637" sldId="378"/>
            <ac:spMk id="7" creationId="{7B0F1F79-B87E-A223-8D0C-0EDF29DBC4F1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1T03:33:55.551" v="2430" actId="1076"/>
        <pc:sldMkLst>
          <pc:docMk/>
          <pc:sldMk cId="2433455799" sldId="379"/>
        </pc:sldMkLst>
        <pc:spChg chg="del">
          <ac:chgData name="Takaaki Masaki" userId="56a88eee-ec65-40f9-8642-be59fd24ba9b" providerId="ADAL" clId="{B854D024-8FF7-452B-B2F9-8E2041F90BBF}" dt="2024-04-11T03:32:02.340" v="2425" actId="478"/>
          <ac:spMkLst>
            <pc:docMk/>
            <pc:sldMk cId="2433455799" sldId="379"/>
            <ac:spMk id="2" creationId="{4A556D2E-0527-BE41-57DC-C669F14E2A4B}"/>
          </ac:spMkLst>
        </pc:spChg>
        <pc:spChg chg="add del mod">
          <ac:chgData name="Takaaki Masaki" userId="56a88eee-ec65-40f9-8642-be59fd24ba9b" providerId="ADAL" clId="{B854D024-8FF7-452B-B2F9-8E2041F90BBF}" dt="2024-04-11T03:32:04.358" v="2426" actId="478"/>
          <ac:spMkLst>
            <pc:docMk/>
            <pc:sldMk cId="2433455799" sldId="379"/>
            <ac:spMk id="3" creationId="{3B7B1D63-63F3-290C-8C18-C46F56ABB513}"/>
          </ac:spMkLst>
        </pc:spChg>
        <pc:spChg chg="mod">
          <ac:chgData name="Takaaki Masaki" userId="56a88eee-ec65-40f9-8642-be59fd24ba9b" providerId="ADAL" clId="{B854D024-8FF7-452B-B2F9-8E2041F90BBF}" dt="2024-04-11T03:33:55.551" v="2430" actId="1076"/>
          <ac:spMkLst>
            <pc:docMk/>
            <pc:sldMk cId="2433455799" sldId="379"/>
            <ac:spMk id="6" creationId="{090CA7EE-4B03-6BB9-1C22-E765C4A73454}"/>
          </ac:spMkLst>
        </pc:spChg>
      </pc:sldChg>
      <pc:sldChg chg="addSp modSp add mod delCm modCm">
        <pc:chgData name="Takaaki Masaki" userId="56a88eee-ec65-40f9-8642-be59fd24ba9b" providerId="ADAL" clId="{B854D024-8FF7-452B-B2F9-8E2041F90BBF}" dt="2024-04-11T05:37:53.948" v="4375"/>
        <pc:sldMkLst>
          <pc:docMk/>
          <pc:sldMk cId="3258379864" sldId="380"/>
        </pc:sldMkLst>
        <pc:spChg chg="mod">
          <ac:chgData name="Takaaki Masaki" userId="56a88eee-ec65-40f9-8642-be59fd24ba9b" providerId="ADAL" clId="{B854D024-8FF7-452B-B2F9-8E2041F90BBF}" dt="2024-04-11T03:37:19.468" v="2457" actId="20577"/>
          <ac:spMkLst>
            <pc:docMk/>
            <pc:sldMk cId="3258379864" sldId="380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1:13.226" v="2701" actId="20577"/>
          <ac:spMkLst>
            <pc:docMk/>
            <pc:sldMk cId="3258379864" sldId="380"/>
            <ac:spMk id="3" creationId="{35687254-75A8-3D93-A988-32C7B33F1C6E}"/>
          </ac:spMkLst>
        </pc:spChg>
        <pc:picChg chg="add mod">
          <ac:chgData name="Takaaki Masaki" userId="56a88eee-ec65-40f9-8642-be59fd24ba9b" providerId="ADAL" clId="{B854D024-8FF7-452B-B2F9-8E2041F90BBF}" dt="2024-04-11T03:38:30.591" v="2525" actId="1076"/>
          <ac:picMkLst>
            <pc:docMk/>
            <pc:sldMk cId="3258379864" sldId="380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1T05:37:53.948" v="4375"/>
              <pc2:cmMkLst xmlns:pc2="http://schemas.microsoft.com/office/powerpoint/2019/9/main/command">
                <pc:docMk/>
                <pc:sldMk cId="3258379864" sldId="380"/>
                <pc2:cmMk id="{218BE1FD-D38B-45E0-8273-69481DA34720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48.620" v="4374"/>
        <pc:sldMkLst>
          <pc:docMk/>
          <pc:sldMk cId="3987817943" sldId="381"/>
        </pc:sldMkLst>
        <pc:spChg chg="mod">
          <ac:chgData name="Takaaki Masaki" userId="56a88eee-ec65-40f9-8642-be59fd24ba9b" providerId="ADAL" clId="{B854D024-8FF7-452B-B2F9-8E2041F90BBF}" dt="2024-04-11T03:45:19.099" v="2894" actId="20577"/>
          <ac:spMkLst>
            <pc:docMk/>
            <pc:sldMk cId="3987817943" sldId="381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47.871" v="2934" actId="20577"/>
          <ac:spMkLst>
            <pc:docMk/>
            <pc:sldMk cId="3987817943" sldId="381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2:39.253" v="2806" actId="478"/>
          <ac:picMkLst>
            <pc:docMk/>
            <pc:sldMk cId="3987817943" sldId="381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8.620" v="4374"/>
              <pc2:cmMkLst xmlns:pc2="http://schemas.microsoft.com/office/powerpoint/2019/9/main/command">
                <pc:docMk/>
                <pc:sldMk cId="3987817943" sldId="381"/>
                <pc2:cmMk id="{0A4B2665-DCFC-4CC2-AE20-4370AF035A44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38.542" v="4372"/>
        <pc:sldMkLst>
          <pc:docMk/>
          <pc:sldMk cId="3220225615" sldId="382"/>
        </pc:sldMkLst>
        <pc:spChg chg="mod">
          <ac:chgData name="Takaaki Masaki" userId="56a88eee-ec65-40f9-8642-be59fd24ba9b" providerId="ADAL" clId="{B854D024-8FF7-452B-B2F9-8E2041F90BBF}" dt="2024-04-11T03:46:23.815" v="2957" actId="20577"/>
          <ac:spMkLst>
            <pc:docMk/>
            <pc:sldMk cId="3220225615" sldId="382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6:36.543" v="3017" actId="20577"/>
          <ac:spMkLst>
            <pc:docMk/>
            <pc:sldMk cId="3220225615" sldId="382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6:37.973" v="3018" actId="478"/>
          <ac:picMkLst>
            <pc:docMk/>
            <pc:sldMk cId="3220225615" sldId="382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38.542" v="4372"/>
              <pc2:cmMkLst xmlns:pc2="http://schemas.microsoft.com/office/powerpoint/2019/9/main/command">
                <pc:docMk/>
                <pc:sldMk cId="3220225615" sldId="382"/>
                <pc2:cmMk id="{C8B8AFCC-2F4A-4D78-B6FA-AE85DB16B97B}"/>
              </pc2:cmMkLst>
            </pc226:cmChg>
          </p:ext>
        </pc:extLst>
      </pc:sldChg>
      <pc:sldChg chg="modSp add mod ord delCm">
        <pc:chgData name="Takaaki Masaki" userId="56a88eee-ec65-40f9-8642-be59fd24ba9b" providerId="ADAL" clId="{B854D024-8FF7-452B-B2F9-8E2041F90BBF}" dt="2024-04-11T05:37:43.592" v="4373"/>
        <pc:sldMkLst>
          <pc:docMk/>
          <pc:sldMk cId="3648482753" sldId="383"/>
        </pc:sldMkLst>
        <pc:spChg chg="mod">
          <ac:chgData name="Takaaki Masaki" userId="56a88eee-ec65-40f9-8642-be59fd24ba9b" providerId="ADAL" clId="{B854D024-8FF7-452B-B2F9-8E2041F90BBF}" dt="2024-04-11T03:46:58.334" v="3033" actId="20577"/>
          <ac:spMkLst>
            <pc:docMk/>
            <pc:sldMk cId="3648482753" sldId="383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59.358" v="2942" actId="20577"/>
          <ac:spMkLst>
            <pc:docMk/>
            <pc:sldMk cId="3648482753" sldId="38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3.592" v="4373"/>
              <pc2:cmMkLst xmlns:pc2="http://schemas.microsoft.com/office/powerpoint/2019/9/main/command">
                <pc:docMk/>
                <pc:sldMk cId="3648482753" sldId="383"/>
                <pc2:cmMk id="{E0EE4A10-530E-447E-81E5-FDACEEF1558A}"/>
              </pc2:cmMkLst>
            </pc226:cmChg>
          </p:ext>
        </pc:extLst>
      </pc:sldChg>
      <pc:sldChg chg="addSp modSp new mod">
        <pc:chgData name="Takaaki Masaki" userId="56a88eee-ec65-40f9-8642-be59fd24ba9b" providerId="ADAL" clId="{B854D024-8FF7-452B-B2F9-8E2041F90BBF}" dt="2024-04-12T00:56:16.887" v="4513" actId="1076"/>
        <pc:sldMkLst>
          <pc:docMk/>
          <pc:sldMk cId="3047067756" sldId="384"/>
        </pc:sldMkLst>
        <pc:spChg chg="mod">
          <ac:chgData name="Takaaki Masaki" userId="56a88eee-ec65-40f9-8642-be59fd24ba9b" providerId="ADAL" clId="{B854D024-8FF7-452B-B2F9-8E2041F90BBF}" dt="2024-04-11T04:05:20.402" v="3076" actId="20577"/>
          <ac:spMkLst>
            <pc:docMk/>
            <pc:sldMk cId="3047067756" sldId="384"/>
            <ac:spMk id="2" creationId="{C4ACDA44-19F4-3831-BB0E-4EAF4E371DE0}"/>
          </ac:spMkLst>
        </pc:spChg>
        <pc:spChg chg="mod">
          <ac:chgData name="Takaaki Masaki" userId="56a88eee-ec65-40f9-8642-be59fd24ba9b" providerId="ADAL" clId="{B854D024-8FF7-452B-B2F9-8E2041F90BBF}" dt="2024-04-11T04:17:06.753" v="3204" actId="20577"/>
          <ac:spMkLst>
            <pc:docMk/>
            <pc:sldMk cId="3047067756" sldId="384"/>
            <ac:spMk id="3" creationId="{975F9406-8D7D-862D-8F39-C555E94AA688}"/>
          </ac:spMkLst>
        </pc:spChg>
        <pc:picChg chg="add mod">
          <ac:chgData name="Takaaki Masaki" userId="56a88eee-ec65-40f9-8642-be59fd24ba9b" providerId="ADAL" clId="{B854D024-8FF7-452B-B2F9-8E2041F90BBF}" dt="2024-04-12T00:56:13.157" v="4511" actId="1076"/>
          <ac:picMkLst>
            <pc:docMk/>
            <pc:sldMk cId="3047067756" sldId="384"/>
            <ac:picMk id="1026" creationId="{D3F05243-0C3F-7DFB-8B4C-D7F4CFC81000}"/>
          </ac:picMkLst>
        </pc:picChg>
        <pc:picChg chg="add mod">
          <ac:chgData name="Takaaki Masaki" userId="56a88eee-ec65-40f9-8642-be59fd24ba9b" providerId="ADAL" clId="{B854D024-8FF7-452B-B2F9-8E2041F90BBF}" dt="2024-04-12T00:56:16.887" v="4513" actId="1076"/>
          <ac:picMkLst>
            <pc:docMk/>
            <pc:sldMk cId="3047067756" sldId="384"/>
            <ac:picMk id="1028" creationId="{65001DDC-AB14-99F2-B92D-2C2788E21745}"/>
          </ac:picMkLst>
        </pc:picChg>
      </pc:sldChg>
      <pc:sldChg chg="modSp add mod">
        <pc:chgData name="Takaaki Masaki" userId="56a88eee-ec65-40f9-8642-be59fd24ba9b" providerId="ADAL" clId="{B854D024-8FF7-452B-B2F9-8E2041F90BBF}" dt="2024-04-11T04:19:09.486" v="3255" actId="20577"/>
        <pc:sldMkLst>
          <pc:docMk/>
          <pc:sldMk cId="3289215366" sldId="385"/>
        </pc:sldMkLst>
        <pc:spChg chg="mod">
          <ac:chgData name="Takaaki Masaki" userId="56a88eee-ec65-40f9-8642-be59fd24ba9b" providerId="ADAL" clId="{B854D024-8FF7-452B-B2F9-8E2041F90BBF}" dt="2024-04-11T04:19:09.486" v="3255" actId="20577"/>
          <ac:spMkLst>
            <pc:docMk/>
            <pc:sldMk cId="3289215366" sldId="385"/>
            <ac:spMk id="2" creationId="{E01226A3-FD12-4BA7-ABF5-9D408688073E}"/>
          </ac:spMkLst>
        </pc:spChg>
      </pc:sldChg>
      <pc:sldChg chg="modSp new mod">
        <pc:chgData name="Takaaki Masaki" userId="56a88eee-ec65-40f9-8642-be59fd24ba9b" providerId="ADAL" clId="{B854D024-8FF7-452B-B2F9-8E2041F90BBF}" dt="2024-04-11T04:23:48.872" v="3274" actId="122"/>
        <pc:sldMkLst>
          <pc:docMk/>
          <pc:sldMk cId="3920356139" sldId="386"/>
        </pc:sldMkLst>
        <pc:spChg chg="mod">
          <ac:chgData name="Takaaki Masaki" userId="56a88eee-ec65-40f9-8642-be59fd24ba9b" providerId="ADAL" clId="{B854D024-8FF7-452B-B2F9-8E2041F90BBF}" dt="2024-04-11T04:19:27.729" v="3268" actId="20577"/>
          <ac:spMkLst>
            <pc:docMk/>
            <pc:sldMk cId="3920356139" sldId="386"/>
            <ac:spMk id="2" creationId="{5C38AFF2-C090-6C96-60BC-DC6D5F2CC743}"/>
          </ac:spMkLst>
        </pc:spChg>
        <pc:spChg chg="mod">
          <ac:chgData name="Takaaki Masaki" userId="56a88eee-ec65-40f9-8642-be59fd24ba9b" providerId="ADAL" clId="{B854D024-8FF7-452B-B2F9-8E2041F90BBF}" dt="2024-04-11T04:23:48.872" v="3274" actId="122"/>
          <ac:spMkLst>
            <pc:docMk/>
            <pc:sldMk cId="3920356139" sldId="386"/>
            <ac:spMk id="3" creationId="{06744B89-B604-8AB8-04C8-3A65812A1130}"/>
          </ac:spMkLst>
        </pc:spChg>
      </pc:sldChg>
      <pc:sldChg chg="addSp delSp modSp new mod modNotesTx">
        <pc:chgData name="Takaaki Masaki" userId="56a88eee-ec65-40f9-8642-be59fd24ba9b" providerId="ADAL" clId="{B854D024-8FF7-452B-B2F9-8E2041F90BBF}" dt="2024-04-11T05:07:07.484" v="4050" actId="20577"/>
        <pc:sldMkLst>
          <pc:docMk/>
          <pc:sldMk cId="2272339822" sldId="387"/>
        </pc:sldMkLst>
        <pc:spChg chg="mod">
          <ac:chgData name="Takaaki Masaki" userId="56a88eee-ec65-40f9-8642-be59fd24ba9b" providerId="ADAL" clId="{B854D024-8FF7-452B-B2F9-8E2041F90BBF}" dt="2024-04-11T05:07:07.484" v="4050" actId="20577"/>
          <ac:spMkLst>
            <pc:docMk/>
            <pc:sldMk cId="2272339822" sldId="387"/>
            <ac:spMk id="2" creationId="{60084859-E6BB-8FD6-D354-031003A96F81}"/>
          </ac:spMkLst>
        </pc:spChg>
        <pc:spChg chg="mod">
          <ac:chgData name="Takaaki Masaki" userId="56a88eee-ec65-40f9-8642-be59fd24ba9b" providerId="ADAL" clId="{B854D024-8FF7-452B-B2F9-8E2041F90BBF}" dt="2024-04-11T04:53:55.718" v="3788"/>
          <ac:spMkLst>
            <pc:docMk/>
            <pc:sldMk cId="2272339822" sldId="387"/>
            <ac:spMk id="3" creationId="{EDEBF080-9AF4-F7EC-54CA-94D42978DBAB}"/>
          </ac:spMkLst>
        </pc:spChg>
        <pc:picChg chg="add del mod">
          <ac:chgData name="Takaaki Masaki" userId="56a88eee-ec65-40f9-8642-be59fd24ba9b" providerId="ADAL" clId="{B854D024-8FF7-452B-B2F9-8E2041F90BBF}" dt="2024-04-11T04:51:12.202" v="3719" actId="478"/>
          <ac:picMkLst>
            <pc:docMk/>
            <pc:sldMk cId="2272339822" sldId="387"/>
            <ac:picMk id="7" creationId="{739E9519-9AE0-56F5-DC35-A8AA7D472E7E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1T12:54:29.723" v="4425"/>
        <pc:sldMkLst>
          <pc:docMk/>
          <pc:sldMk cId="3503772838" sldId="388"/>
        </pc:sldMkLst>
        <pc:spChg chg="mod">
          <ac:chgData name="Takaaki Masaki" userId="56a88eee-ec65-40f9-8642-be59fd24ba9b" providerId="ADAL" clId="{B854D024-8FF7-452B-B2F9-8E2041F90BBF}" dt="2024-04-11T12:54:29.723" v="4425"/>
          <ac:spMkLst>
            <pc:docMk/>
            <pc:sldMk cId="3503772838" sldId="388"/>
            <ac:spMk id="3" creationId="{EDEBF080-9AF4-F7EC-54CA-94D42978DBAB}"/>
          </ac:spMkLst>
        </pc:spChg>
        <pc:graphicFrameChg chg="add del mod">
          <ac:chgData name="Takaaki Masaki" userId="56a88eee-ec65-40f9-8642-be59fd24ba9b" providerId="ADAL" clId="{B854D024-8FF7-452B-B2F9-8E2041F90BBF}" dt="2024-04-11T05:53:57.288" v="4379" actId="478"/>
          <ac:graphicFrameMkLst>
            <pc:docMk/>
            <pc:sldMk cId="3503772838" sldId="388"/>
            <ac:graphicFrameMk id="6" creationId="{8CB2A2CC-CAC5-B712-6675-7D883D516F85}"/>
          </ac:graphicFrameMkLst>
        </pc:graphicFrameChg>
        <pc:picChg chg="del">
          <ac:chgData name="Takaaki Masaki" userId="56a88eee-ec65-40f9-8642-be59fd24ba9b" providerId="ADAL" clId="{B854D024-8FF7-452B-B2F9-8E2041F90BBF}" dt="2024-04-11T04:40:16.493" v="3494" actId="478"/>
          <ac:picMkLst>
            <pc:docMk/>
            <pc:sldMk cId="3503772838" sldId="388"/>
            <ac:picMk id="7" creationId="{739E9519-9AE0-56F5-DC35-A8AA7D472E7E}"/>
          </ac:picMkLst>
        </pc:picChg>
      </pc:sldChg>
      <pc:sldChg chg="new del">
        <pc:chgData name="Takaaki Masaki" userId="56a88eee-ec65-40f9-8642-be59fd24ba9b" providerId="ADAL" clId="{B854D024-8FF7-452B-B2F9-8E2041F90BBF}" dt="2024-04-11T04:54:25.219" v="3792" actId="47"/>
        <pc:sldMkLst>
          <pc:docMk/>
          <pc:sldMk cId="880247130" sldId="389"/>
        </pc:sldMkLst>
      </pc:sldChg>
      <pc:sldChg chg="modSp add mod">
        <pc:chgData name="Takaaki Masaki" userId="56a88eee-ec65-40f9-8642-be59fd24ba9b" providerId="ADAL" clId="{B854D024-8FF7-452B-B2F9-8E2041F90BBF}" dt="2024-04-12T00:57:26.567" v="4520" actId="207"/>
        <pc:sldMkLst>
          <pc:docMk/>
          <pc:sldMk cId="4153926815" sldId="390"/>
        </pc:sldMkLst>
        <pc:spChg chg="mod">
          <ac:chgData name="Takaaki Masaki" userId="56a88eee-ec65-40f9-8642-be59fd24ba9b" providerId="ADAL" clId="{B854D024-8FF7-452B-B2F9-8E2041F90BBF}" dt="2024-04-12T00:57:26.567" v="4520" actId="207"/>
          <ac:spMkLst>
            <pc:docMk/>
            <pc:sldMk cId="4153926815" sldId="390"/>
            <ac:spMk id="3" creationId="{EDEBF080-9AF4-F7EC-54CA-94D42978DBAB}"/>
          </ac:spMkLst>
        </pc:spChg>
      </pc:sldChg>
      <pc:sldChg chg="modSp add mod">
        <pc:chgData name="Takaaki Masaki" userId="56a88eee-ec65-40f9-8642-be59fd24ba9b" providerId="ADAL" clId="{B854D024-8FF7-452B-B2F9-8E2041F90BBF}" dt="2024-04-12T00:57:59.121" v="4557" actId="20577"/>
        <pc:sldMkLst>
          <pc:docMk/>
          <pc:sldMk cId="3852843017" sldId="391"/>
        </pc:sldMkLst>
        <pc:spChg chg="mod">
          <ac:chgData name="Takaaki Masaki" userId="56a88eee-ec65-40f9-8642-be59fd24ba9b" providerId="ADAL" clId="{B854D024-8FF7-452B-B2F9-8E2041F90BBF}" dt="2024-04-12T00:57:59.121" v="4557" actId="20577"/>
          <ac:spMkLst>
            <pc:docMk/>
            <pc:sldMk cId="3852843017" sldId="391"/>
            <ac:spMk id="3" creationId="{EDEBF080-9AF4-F7EC-54CA-94D42978DBAB}"/>
          </ac:spMkLst>
        </pc:spChg>
      </pc:sldChg>
      <pc:sldChg chg="addSp modSp new mod">
        <pc:chgData name="Takaaki Masaki" userId="56a88eee-ec65-40f9-8642-be59fd24ba9b" providerId="ADAL" clId="{B854D024-8FF7-452B-B2F9-8E2041F90BBF}" dt="2024-04-12T00:57:19.708" v="4519" actId="20577"/>
        <pc:sldMkLst>
          <pc:docMk/>
          <pc:sldMk cId="2787182346" sldId="392"/>
        </pc:sldMkLst>
        <pc:spChg chg="mod">
          <ac:chgData name="Takaaki Masaki" userId="56a88eee-ec65-40f9-8642-be59fd24ba9b" providerId="ADAL" clId="{B854D024-8FF7-452B-B2F9-8E2041F90BBF}" dt="2024-04-11T04:59:21.320" v="3858" actId="20577"/>
          <ac:spMkLst>
            <pc:docMk/>
            <pc:sldMk cId="2787182346" sldId="392"/>
            <ac:spMk id="2" creationId="{37F0FC2B-B72F-A007-80EA-C5341F830397}"/>
          </ac:spMkLst>
        </pc:spChg>
        <pc:spChg chg="mod">
          <ac:chgData name="Takaaki Masaki" userId="56a88eee-ec65-40f9-8642-be59fd24ba9b" providerId="ADAL" clId="{B854D024-8FF7-452B-B2F9-8E2041F90BBF}" dt="2024-04-12T00:57:19.708" v="4519" actId="20577"/>
          <ac:spMkLst>
            <pc:docMk/>
            <pc:sldMk cId="2787182346" sldId="392"/>
            <ac:spMk id="3" creationId="{A0C14624-C7DE-3B9B-4197-BCC5A809BAD3}"/>
          </ac:spMkLst>
        </pc:spChg>
        <pc:spChg chg="add mod">
          <ac:chgData name="Takaaki Masaki" userId="56a88eee-ec65-40f9-8642-be59fd24ba9b" providerId="ADAL" clId="{B854D024-8FF7-452B-B2F9-8E2041F90BBF}" dt="2024-04-11T05:06:46.875" v="4029" actId="1076"/>
          <ac:spMkLst>
            <pc:docMk/>
            <pc:sldMk cId="2787182346" sldId="392"/>
            <ac:spMk id="8" creationId="{3D1787CA-C063-7B40-0DD5-3BFF52899FAE}"/>
          </ac:spMkLst>
        </pc:spChg>
        <pc:picChg chg="add mod">
          <ac:chgData name="Takaaki Masaki" userId="56a88eee-ec65-40f9-8642-be59fd24ba9b" providerId="ADAL" clId="{B854D024-8FF7-452B-B2F9-8E2041F90BBF}" dt="2024-04-11T05:06:44.407" v="4028" actId="1076"/>
          <ac:picMkLst>
            <pc:docMk/>
            <pc:sldMk cId="2787182346" sldId="392"/>
            <ac:picMk id="7" creationId="{134E32B4-A841-023D-54E2-C0F7198FAABF}"/>
          </ac:picMkLst>
        </pc:picChg>
      </pc:sldChg>
      <pc:sldChg chg="modSp new mod">
        <pc:chgData name="Takaaki Masaki" userId="56a88eee-ec65-40f9-8642-be59fd24ba9b" providerId="ADAL" clId="{B854D024-8FF7-452B-B2F9-8E2041F90BBF}" dt="2024-04-12T00:58:42.566" v="4644" actId="20577"/>
        <pc:sldMkLst>
          <pc:docMk/>
          <pc:sldMk cId="1618653439" sldId="393"/>
        </pc:sldMkLst>
        <pc:spChg chg="mod">
          <ac:chgData name="Takaaki Masaki" userId="56a88eee-ec65-40f9-8642-be59fd24ba9b" providerId="ADAL" clId="{B854D024-8FF7-452B-B2F9-8E2041F90BBF}" dt="2024-04-12T00:58:19.921" v="4586" actId="20577"/>
          <ac:spMkLst>
            <pc:docMk/>
            <pc:sldMk cId="1618653439" sldId="393"/>
            <ac:spMk id="2" creationId="{73DFCCB5-3436-F867-CF70-C797B0CBF5FE}"/>
          </ac:spMkLst>
        </pc:spChg>
        <pc:spChg chg="mod">
          <ac:chgData name="Takaaki Masaki" userId="56a88eee-ec65-40f9-8642-be59fd24ba9b" providerId="ADAL" clId="{B854D024-8FF7-452B-B2F9-8E2041F90BBF}" dt="2024-04-12T00:58:42.566" v="4644" actId="20577"/>
          <ac:spMkLst>
            <pc:docMk/>
            <pc:sldMk cId="1618653439" sldId="393"/>
            <ac:spMk id="3" creationId="{17922337-70EF-AFE0-C951-B439D953DC71}"/>
          </ac:spMkLst>
        </pc:spChg>
      </pc:sldChg>
      <pc:sldChg chg="modSp add mod">
        <pc:chgData name="Takaaki Masaki" userId="56a88eee-ec65-40f9-8642-be59fd24ba9b" providerId="ADAL" clId="{B854D024-8FF7-452B-B2F9-8E2041F90BBF}" dt="2024-04-16T00:34:46.303" v="4784" actId="20577"/>
        <pc:sldMkLst>
          <pc:docMk/>
          <pc:sldMk cId="2539305716" sldId="394"/>
        </pc:sldMkLst>
        <pc:spChg chg="mod">
          <ac:chgData name="Takaaki Masaki" userId="56a88eee-ec65-40f9-8642-be59fd24ba9b" providerId="ADAL" clId="{B854D024-8FF7-452B-B2F9-8E2041F90BBF}" dt="2024-04-16T00:34:46.303" v="4784" actId="20577"/>
          <ac:spMkLst>
            <pc:docMk/>
            <pc:sldMk cId="2539305716" sldId="394"/>
            <ac:spMk id="2" creationId="{E01226A3-FD12-4BA7-ABF5-9D408688073E}"/>
          </ac:spMkLst>
        </pc:spChg>
      </pc:sldChg>
      <pc:sldChg chg="modSp add mod">
        <pc:chgData name="Takaaki Masaki" userId="56a88eee-ec65-40f9-8642-be59fd24ba9b" providerId="ADAL" clId="{B854D024-8FF7-452B-B2F9-8E2041F90BBF}" dt="2024-04-16T00:37:26.655" v="4791" actId="20577"/>
        <pc:sldMkLst>
          <pc:docMk/>
          <pc:sldMk cId="2458777120" sldId="395"/>
        </pc:sldMkLst>
        <pc:spChg chg="mod">
          <ac:chgData name="Takaaki Masaki" userId="56a88eee-ec65-40f9-8642-be59fd24ba9b" providerId="ADAL" clId="{B854D024-8FF7-452B-B2F9-8E2041F90BBF}" dt="2024-04-16T00:37:26.655" v="4791" actId="20577"/>
          <ac:spMkLst>
            <pc:docMk/>
            <pc:sldMk cId="2458777120" sldId="395"/>
            <ac:spMk id="2" creationId="{4A556D2E-0527-BE41-57DC-C669F14E2A4B}"/>
          </ac:spMkLst>
        </pc:spChg>
      </pc:sldChg>
      <pc:sldChg chg="delSp modSp new del mod">
        <pc:chgData name="Takaaki Masaki" userId="56a88eee-ec65-40f9-8642-be59fd24ba9b" providerId="ADAL" clId="{B854D024-8FF7-452B-B2F9-8E2041F90BBF}" dt="2024-04-16T00:37:20.904" v="4788" actId="47"/>
        <pc:sldMkLst>
          <pc:docMk/>
          <pc:sldMk cId="3430835585" sldId="395"/>
        </pc:sldMkLst>
        <pc:spChg chg="del">
          <ac:chgData name="Takaaki Masaki" userId="56a88eee-ec65-40f9-8642-be59fd24ba9b" providerId="ADAL" clId="{B854D024-8FF7-452B-B2F9-8E2041F90BBF}" dt="2024-04-16T00:37:03.025" v="4786" actId="478"/>
          <ac:spMkLst>
            <pc:docMk/>
            <pc:sldMk cId="3430835585" sldId="395"/>
            <ac:spMk id="2" creationId="{C9D53D6A-259C-9324-09C4-1CAEAC080850}"/>
          </ac:spMkLst>
        </pc:spChg>
        <pc:spChg chg="mod">
          <ac:chgData name="Takaaki Masaki" userId="56a88eee-ec65-40f9-8642-be59fd24ba9b" providerId="ADAL" clId="{B854D024-8FF7-452B-B2F9-8E2041F90BBF}" dt="2024-04-16T00:37:05.766" v="4787" actId="14100"/>
          <ac:spMkLst>
            <pc:docMk/>
            <pc:sldMk cId="3430835585" sldId="395"/>
            <ac:spMk id="3" creationId="{E697A57E-4990-AFBD-9325-1C47E0B7E78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7.207" v="5094" actId="47"/>
        <pc:sldMkLst>
          <pc:docMk/>
          <pc:sldMk cId="4105954500" sldId="396"/>
        </pc:sldMkLst>
        <pc:spChg chg="mod">
          <ac:chgData name="Takaaki Masaki" userId="56a88eee-ec65-40f9-8642-be59fd24ba9b" providerId="ADAL" clId="{B854D024-8FF7-452B-B2F9-8E2041F90BBF}" dt="2024-04-16T01:10:39.856" v="5056" actId="20577"/>
          <ac:spMkLst>
            <pc:docMk/>
            <pc:sldMk cId="4105954500" sldId="396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6" creationId="{D88E5E82-D617-03ED-4D7B-2BDDBA3C8FFB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067" v="5095" actId="47"/>
        <pc:sldMkLst>
          <pc:docMk/>
          <pc:sldMk cId="2955174239" sldId="397"/>
        </pc:sldMkLst>
        <pc:spChg chg="mod">
          <ac:chgData name="Takaaki Masaki" userId="56a88eee-ec65-40f9-8642-be59fd24ba9b" providerId="ADAL" clId="{B854D024-8FF7-452B-B2F9-8E2041F90BBF}" dt="2024-04-16T01:10:47.523" v="5065" actId="20577"/>
          <ac:spMkLst>
            <pc:docMk/>
            <pc:sldMk cId="2955174239" sldId="397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6" creationId="{A9943EAA-416F-167F-6F90-0DB4F0A714A3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939" v="5096" actId="47"/>
        <pc:sldMkLst>
          <pc:docMk/>
          <pc:sldMk cId="1694956693" sldId="398"/>
        </pc:sldMkLst>
        <pc:spChg chg="mod">
          <ac:chgData name="Takaaki Masaki" userId="56a88eee-ec65-40f9-8642-be59fd24ba9b" providerId="ADAL" clId="{B854D024-8FF7-452B-B2F9-8E2041F90BBF}" dt="2024-04-16T01:10:56.509" v="5076" actId="20577"/>
          <ac:spMkLst>
            <pc:docMk/>
            <pc:sldMk cId="1694956693" sldId="398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6" creationId="{C2FE5CE6-0BA4-2912-48F0-616EAC3E9E4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4:00.015" v="5097" actId="47"/>
        <pc:sldMkLst>
          <pc:docMk/>
          <pc:sldMk cId="3088195857" sldId="399"/>
        </pc:sldMkLst>
        <pc:spChg chg="mod">
          <ac:chgData name="Takaaki Masaki" userId="56a88eee-ec65-40f9-8642-be59fd24ba9b" providerId="ADAL" clId="{B854D024-8FF7-452B-B2F9-8E2041F90BBF}" dt="2024-04-16T01:11:01.717" v="5084" actId="20577"/>
          <ac:spMkLst>
            <pc:docMk/>
            <pc:sldMk cId="3088195857" sldId="399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1:04.551" v="5085" actId="478"/>
          <ac:spMkLst>
            <pc:docMk/>
            <pc:sldMk cId="3088195857" sldId="399"/>
            <ac:spMk id="3" creationId="{B894210C-9002-4DA4-9DD8-4CF05F405920}"/>
          </ac:spMkLst>
        </pc:spChg>
        <pc:spChg chg="add del mod">
          <ac:chgData name="Takaaki Masaki" userId="56a88eee-ec65-40f9-8642-be59fd24ba9b" providerId="ADAL" clId="{B854D024-8FF7-452B-B2F9-8E2041F90BBF}" dt="2024-04-16T01:11:07.661" v="5086" actId="478"/>
          <ac:spMkLst>
            <pc:docMk/>
            <pc:sldMk cId="3088195857" sldId="399"/>
            <ac:spMk id="6" creationId="{2B7BD630-6735-8DEF-4299-65EA0F73F8C8}"/>
          </ac:spMkLst>
        </pc:spChg>
      </pc:sldChg>
      <pc:sldChg chg="modSp add mod">
        <pc:chgData name="Takaaki Masaki" userId="56a88eee-ec65-40f9-8642-be59fd24ba9b" providerId="ADAL" clId="{B854D024-8FF7-452B-B2F9-8E2041F90BBF}" dt="2024-04-16T01:22:59.703" v="5453" actId="1076"/>
        <pc:sldMkLst>
          <pc:docMk/>
          <pc:sldMk cId="2567304454" sldId="400"/>
        </pc:sldMkLst>
        <pc:spChg chg="mod">
          <ac:chgData name="Takaaki Masaki" userId="56a88eee-ec65-40f9-8642-be59fd24ba9b" providerId="ADAL" clId="{B854D024-8FF7-452B-B2F9-8E2041F90BBF}" dt="2024-04-16T01:03:32.444" v="4862" actId="20577"/>
          <ac:spMkLst>
            <pc:docMk/>
            <pc:sldMk cId="2567304454" sldId="400"/>
            <ac:spMk id="2" creationId="{90D0FF2E-2620-4EB1-A986-02CA3AA912A8}"/>
          </ac:spMkLst>
        </pc:spChg>
        <pc:spChg chg="mod">
          <ac:chgData name="Takaaki Masaki" userId="56a88eee-ec65-40f9-8642-be59fd24ba9b" providerId="ADAL" clId="{B854D024-8FF7-452B-B2F9-8E2041F90BBF}" dt="2024-04-16T01:22:59.703" v="5453" actId="1076"/>
          <ac:spMkLst>
            <pc:docMk/>
            <pc:sldMk cId="2567304454" sldId="400"/>
            <ac:spMk id="6" creationId="{D8225931-D0F2-2D66-8544-29315BFBE9E7}"/>
          </ac:spMkLst>
        </pc:spChg>
      </pc:sldChg>
      <pc:sldChg chg="new del">
        <pc:chgData name="Takaaki Masaki" userId="56a88eee-ec65-40f9-8642-be59fd24ba9b" providerId="ADAL" clId="{B854D024-8FF7-452B-B2F9-8E2041F90BBF}" dt="2024-04-16T01:03:20.803" v="4833" actId="680"/>
        <pc:sldMkLst>
          <pc:docMk/>
          <pc:sldMk cId="4086806906" sldId="400"/>
        </pc:sldMkLst>
      </pc:sldChg>
      <pc:sldChg chg="modSp add del mod">
        <pc:chgData name="Takaaki Masaki" userId="56a88eee-ec65-40f9-8642-be59fd24ba9b" providerId="ADAL" clId="{B854D024-8FF7-452B-B2F9-8E2041F90BBF}" dt="2024-04-16T01:14:00.978" v="5098" actId="47"/>
        <pc:sldMkLst>
          <pc:docMk/>
          <pc:sldMk cId="2778098945" sldId="401"/>
        </pc:sldMkLst>
        <pc:spChg chg="mod">
          <ac:chgData name="Takaaki Masaki" userId="56a88eee-ec65-40f9-8642-be59fd24ba9b" providerId="ADAL" clId="{B854D024-8FF7-452B-B2F9-8E2041F90BBF}" dt="2024-04-16T01:13:43.944" v="5091" actId="20577"/>
          <ac:spMkLst>
            <pc:docMk/>
            <pc:sldMk cId="2778098945" sldId="401"/>
            <ac:spMk id="2" creationId="{90D0FF2E-2620-4EB1-A986-02CA3AA912A8}"/>
          </ac:spMkLst>
        </pc:spChg>
      </pc:sldChg>
      <pc:sldChg chg="new del">
        <pc:chgData name="Takaaki Masaki" userId="56a88eee-ec65-40f9-8642-be59fd24ba9b" providerId="ADAL" clId="{B854D024-8FF7-452B-B2F9-8E2041F90BBF}" dt="2024-04-16T01:14:12.304" v="5100" actId="47"/>
        <pc:sldMkLst>
          <pc:docMk/>
          <pc:sldMk cId="2868065524" sldId="401"/>
        </pc:sldMkLst>
      </pc:sldChg>
      <pc:sldChg chg="addSp delSp modSp add mod">
        <pc:chgData name="Takaaki Masaki" userId="56a88eee-ec65-40f9-8642-be59fd24ba9b" providerId="ADAL" clId="{B854D024-8FF7-452B-B2F9-8E2041F90BBF}" dt="2024-04-16T01:22:03.028" v="5424" actId="113"/>
        <pc:sldMkLst>
          <pc:docMk/>
          <pc:sldMk cId="2918255432" sldId="401"/>
        </pc:sldMkLst>
        <pc:spChg chg="mod">
          <ac:chgData name="Takaaki Masaki" userId="56a88eee-ec65-40f9-8642-be59fd24ba9b" providerId="ADAL" clId="{B854D024-8FF7-452B-B2F9-8E2041F90BBF}" dt="2024-04-16T01:14:25.848" v="5149" actId="20577"/>
          <ac:spMkLst>
            <pc:docMk/>
            <pc:sldMk cId="2918255432" sldId="401"/>
            <ac:spMk id="2" creationId="{251BFEA5-E3BD-F66C-3D9D-9E4BFE3436A1}"/>
          </ac:spMkLst>
        </pc:spChg>
        <pc:spChg chg="del">
          <ac:chgData name="Takaaki Masaki" userId="56a88eee-ec65-40f9-8642-be59fd24ba9b" providerId="ADAL" clId="{B854D024-8FF7-452B-B2F9-8E2041F90BBF}" dt="2024-04-16T01:14:29.049" v="5150" actId="478"/>
          <ac:spMkLst>
            <pc:docMk/>
            <pc:sldMk cId="2918255432" sldId="401"/>
            <ac:spMk id="3" creationId="{B7F0B3CF-5933-8DA2-CB89-697D2CFC46EF}"/>
          </ac:spMkLst>
        </pc:spChg>
        <pc:spChg chg="add del mod">
          <ac:chgData name="Takaaki Masaki" userId="56a88eee-ec65-40f9-8642-be59fd24ba9b" providerId="ADAL" clId="{B854D024-8FF7-452B-B2F9-8E2041F90BBF}" dt="2024-04-16T01:14:33.825" v="5151" actId="478"/>
          <ac:spMkLst>
            <pc:docMk/>
            <pc:sldMk cId="2918255432" sldId="401"/>
            <ac:spMk id="6" creationId="{8DCDE56C-6E19-45B4-6FA0-EC68F7E39BBC}"/>
          </ac:spMkLst>
        </pc:spChg>
        <pc:graphicFrameChg chg="add del mod modGraphic">
          <ac:chgData name="Takaaki Masaki" userId="56a88eee-ec65-40f9-8642-be59fd24ba9b" providerId="ADAL" clId="{B854D024-8FF7-452B-B2F9-8E2041F90BBF}" dt="2024-04-16T01:16:06.452" v="5201" actId="478"/>
          <ac:graphicFrameMkLst>
            <pc:docMk/>
            <pc:sldMk cId="2918255432" sldId="401"/>
            <ac:graphicFrameMk id="7" creationId="{D36D59E1-8597-ED43-6D2C-9024C866E9A1}"/>
          </ac:graphicFrameMkLst>
        </pc:graphicFrameChg>
        <pc:graphicFrameChg chg="add mod modGraphic">
          <ac:chgData name="Takaaki Masaki" userId="56a88eee-ec65-40f9-8642-be59fd24ba9b" providerId="ADAL" clId="{B854D024-8FF7-452B-B2F9-8E2041F90BBF}" dt="2024-04-16T01:22:03.028" v="5424" actId="113"/>
          <ac:graphicFrameMkLst>
            <pc:docMk/>
            <pc:sldMk cId="2918255432" sldId="401"/>
            <ac:graphicFrameMk id="9" creationId="{9BAA0D0C-3037-4FF1-2373-908D34C67B46}"/>
          </ac:graphicFrameMkLst>
        </pc:graphicFrameChg>
        <pc:picChg chg="del">
          <ac:chgData name="Takaaki Masaki" userId="56a88eee-ec65-40f9-8642-be59fd24ba9b" providerId="ADAL" clId="{B854D024-8FF7-452B-B2F9-8E2041F90BBF}" dt="2024-04-16T01:14:21.011" v="5128" actId="478"/>
          <ac:picMkLst>
            <pc:docMk/>
            <pc:sldMk cId="2918255432" sldId="401"/>
            <ac:picMk id="8" creationId="{12A3F548-F87F-6D51-9F24-DCA95AE8103F}"/>
          </ac:picMkLst>
        </pc:picChg>
      </pc:sldChg>
      <pc:sldChg chg="add del">
        <pc:chgData name="Takaaki Masaki" userId="56a88eee-ec65-40f9-8642-be59fd24ba9b" providerId="ADAL" clId="{B854D024-8FF7-452B-B2F9-8E2041F90BBF}" dt="2024-04-16T01:13:46.682" v="5092" actId="47"/>
        <pc:sldMkLst>
          <pc:docMk/>
          <pc:sldMk cId="1446521221" sldId="402"/>
        </pc:sldMkLst>
      </pc:sldChg>
      <pc:sldChg chg="addSp delSp modSp new del mod">
        <pc:chgData name="Takaaki Masaki" userId="56a88eee-ec65-40f9-8642-be59fd24ba9b" providerId="ADAL" clId="{B854D024-8FF7-452B-B2F9-8E2041F90BBF}" dt="2024-04-16T01:22:43.889" v="5452" actId="47"/>
        <pc:sldMkLst>
          <pc:docMk/>
          <pc:sldMk cId="2258337404" sldId="402"/>
        </pc:sldMkLst>
        <pc:spChg chg="del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2" creationId="{47907C12-2FB8-2F1A-C4CB-345C0C378875}"/>
          </ac:spMkLst>
        </pc:spChg>
        <pc:spChg chg="del mod">
          <ac:chgData name="Takaaki Masaki" userId="56a88eee-ec65-40f9-8642-be59fd24ba9b" providerId="ADAL" clId="{B854D024-8FF7-452B-B2F9-8E2041F90BBF}" dt="2024-04-16T01:22:31.968" v="5433" actId="478"/>
          <ac:spMkLst>
            <pc:docMk/>
            <pc:sldMk cId="2258337404" sldId="402"/>
            <ac:spMk id="3" creationId="{ADE4198C-F5F6-62F0-69F9-F2B564658C29}"/>
          </ac:spMkLst>
        </pc:spChg>
        <pc:spChg chg="add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7" creationId="{C13A33B3-DCB9-B92C-557A-677B4FD6D135}"/>
          </ac:spMkLst>
        </pc:spChg>
      </pc:sldChg>
      <pc:sldChg chg="addSp delSp modSp new mod">
        <pc:chgData name="Takaaki Masaki" userId="56a88eee-ec65-40f9-8642-be59fd24ba9b" providerId="ADAL" clId="{B854D024-8FF7-452B-B2F9-8E2041F90BBF}" dt="2024-04-16T01:25:28.205" v="5503" actId="20577"/>
        <pc:sldMkLst>
          <pc:docMk/>
          <pc:sldMk cId="4064624480" sldId="402"/>
        </pc:sldMkLst>
        <pc:spChg chg="mod">
          <ac:chgData name="Takaaki Masaki" userId="56a88eee-ec65-40f9-8642-be59fd24ba9b" providerId="ADAL" clId="{B854D024-8FF7-452B-B2F9-8E2041F90BBF}" dt="2024-04-16T01:25:28.205" v="5503" actId="20577"/>
          <ac:spMkLst>
            <pc:docMk/>
            <pc:sldMk cId="4064624480" sldId="402"/>
            <ac:spMk id="2" creationId="{0BA5E8F7-0ED0-8734-A592-F01615A31A09}"/>
          </ac:spMkLst>
        </pc:spChg>
        <pc:spChg chg="del">
          <ac:chgData name="Takaaki Masaki" userId="56a88eee-ec65-40f9-8642-be59fd24ba9b" providerId="ADAL" clId="{B854D024-8FF7-452B-B2F9-8E2041F90BBF}" dt="2024-04-16T01:25:16.173" v="5469" actId="22"/>
          <ac:spMkLst>
            <pc:docMk/>
            <pc:sldMk cId="4064624480" sldId="402"/>
            <ac:spMk id="3" creationId="{90D58C5F-2E66-05CA-A5E2-267C6A3C3615}"/>
          </ac:spMkLst>
        </pc:spChg>
        <pc:picChg chg="add mod ord">
          <ac:chgData name="Takaaki Masaki" userId="56a88eee-ec65-40f9-8642-be59fd24ba9b" providerId="ADAL" clId="{B854D024-8FF7-452B-B2F9-8E2041F90BBF}" dt="2024-04-16T01:25:16.173" v="5469" actId="22"/>
          <ac:picMkLst>
            <pc:docMk/>
            <pc:sldMk cId="4064624480" sldId="402"/>
            <ac:picMk id="7" creationId="{DDA77ED1-B45D-6873-AE1E-6A4DD47DAAE0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29:48.282" v="5541" actId="22"/>
        <pc:sldMkLst>
          <pc:docMk/>
          <pc:sldMk cId="2252220005" sldId="403"/>
        </pc:sldMkLst>
        <pc:spChg chg="mod">
          <ac:chgData name="Takaaki Masaki" userId="56a88eee-ec65-40f9-8642-be59fd24ba9b" providerId="ADAL" clId="{B854D024-8FF7-452B-B2F9-8E2041F90BBF}" dt="2024-04-16T01:27:50.475" v="5540" actId="20577"/>
          <ac:spMkLst>
            <pc:docMk/>
            <pc:sldMk cId="2252220005" sldId="403"/>
            <ac:spMk id="2" creationId="{7BB9BD9E-5DC0-83B2-DCA0-4B27FB4E0A16}"/>
          </ac:spMkLst>
        </pc:spChg>
        <pc:spChg chg="del">
          <ac:chgData name="Takaaki Masaki" userId="56a88eee-ec65-40f9-8642-be59fd24ba9b" providerId="ADAL" clId="{B854D024-8FF7-452B-B2F9-8E2041F90BBF}" dt="2024-04-16T01:29:48.282" v="5541" actId="22"/>
          <ac:spMkLst>
            <pc:docMk/>
            <pc:sldMk cId="2252220005" sldId="403"/>
            <ac:spMk id="3" creationId="{6B57C7B0-F8C3-1D3E-647F-DABD8BBD4769}"/>
          </ac:spMkLst>
        </pc:spChg>
        <pc:picChg chg="add mod ord">
          <ac:chgData name="Takaaki Masaki" userId="56a88eee-ec65-40f9-8642-be59fd24ba9b" providerId="ADAL" clId="{B854D024-8FF7-452B-B2F9-8E2041F90BBF}" dt="2024-04-16T01:29:48.282" v="5541" actId="22"/>
          <ac:picMkLst>
            <pc:docMk/>
            <pc:sldMk cId="2252220005" sldId="403"/>
            <ac:picMk id="7" creationId="{B72CBD9A-DB12-6D1F-E5F9-64FD7C40DFD5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31:34.050" v="5581" actId="22"/>
        <pc:sldMkLst>
          <pc:docMk/>
          <pc:sldMk cId="3549357860" sldId="404"/>
        </pc:sldMkLst>
        <pc:spChg chg="mod">
          <ac:chgData name="Takaaki Masaki" userId="56a88eee-ec65-40f9-8642-be59fd24ba9b" providerId="ADAL" clId="{B854D024-8FF7-452B-B2F9-8E2041F90BBF}" dt="2024-04-16T01:30:31.419" v="5580" actId="20577"/>
          <ac:spMkLst>
            <pc:docMk/>
            <pc:sldMk cId="3549357860" sldId="404"/>
            <ac:spMk id="2" creationId="{1B7C63BB-D867-4DA0-A7D6-808A527E23C1}"/>
          </ac:spMkLst>
        </pc:spChg>
        <pc:spChg chg="del">
          <ac:chgData name="Takaaki Masaki" userId="56a88eee-ec65-40f9-8642-be59fd24ba9b" providerId="ADAL" clId="{B854D024-8FF7-452B-B2F9-8E2041F90BBF}" dt="2024-04-16T01:31:34.050" v="5581" actId="22"/>
          <ac:spMkLst>
            <pc:docMk/>
            <pc:sldMk cId="3549357860" sldId="404"/>
            <ac:spMk id="3" creationId="{CF26CC8A-C5BC-B61F-79FB-4091DA58DE1A}"/>
          </ac:spMkLst>
        </pc:spChg>
        <pc:picChg chg="add mod ord">
          <ac:chgData name="Takaaki Masaki" userId="56a88eee-ec65-40f9-8642-be59fd24ba9b" providerId="ADAL" clId="{B854D024-8FF7-452B-B2F9-8E2041F90BBF}" dt="2024-04-16T01:31:34.050" v="5581" actId="22"/>
          <ac:picMkLst>
            <pc:docMk/>
            <pc:sldMk cId="3549357860" sldId="404"/>
            <ac:picMk id="7" creationId="{80B487B3-CD3B-0435-EA58-B973CBEE7B20}"/>
          </ac:picMkLst>
        </pc:picChg>
      </pc:sldChg>
      <pc:sldChg chg="addSp modSp new mod">
        <pc:chgData name="Takaaki Masaki" userId="56a88eee-ec65-40f9-8642-be59fd24ba9b" providerId="ADAL" clId="{B854D024-8FF7-452B-B2F9-8E2041F90BBF}" dt="2024-04-16T01:36:05.627" v="5671" actId="1076"/>
        <pc:sldMkLst>
          <pc:docMk/>
          <pc:sldMk cId="1417640329" sldId="405"/>
        </pc:sldMkLst>
        <pc:spChg chg="mod">
          <ac:chgData name="Takaaki Masaki" userId="56a88eee-ec65-40f9-8642-be59fd24ba9b" providerId="ADAL" clId="{B854D024-8FF7-452B-B2F9-8E2041F90BBF}" dt="2024-04-16T01:33:17.883" v="5625" actId="20577"/>
          <ac:spMkLst>
            <pc:docMk/>
            <pc:sldMk cId="1417640329" sldId="405"/>
            <ac:spMk id="2" creationId="{8CC82724-C361-6B0C-CB99-00E5F015F2DC}"/>
          </ac:spMkLst>
        </pc:spChg>
        <pc:spChg chg="mod">
          <ac:chgData name="Takaaki Masaki" userId="56a88eee-ec65-40f9-8642-be59fd24ba9b" providerId="ADAL" clId="{B854D024-8FF7-452B-B2F9-8E2041F90BBF}" dt="2024-04-16T01:34:15.992" v="5669" actId="20577"/>
          <ac:spMkLst>
            <pc:docMk/>
            <pc:sldMk cId="1417640329" sldId="405"/>
            <ac:spMk id="3" creationId="{2B569050-D57B-0E62-9D14-66F3D811CDAE}"/>
          </ac:spMkLst>
        </pc:spChg>
        <pc:picChg chg="add mod">
          <ac:chgData name="Takaaki Masaki" userId="56a88eee-ec65-40f9-8642-be59fd24ba9b" providerId="ADAL" clId="{B854D024-8FF7-452B-B2F9-8E2041F90BBF}" dt="2024-04-16T01:36:05.627" v="5671" actId="1076"/>
          <ac:picMkLst>
            <pc:docMk/>
            <pc:sldMk cId="1417640329" sldId="405"/>
            <ac:picMk id="7" creationId="{0D9CBB4A-1438-5995-F783-D3ADE902B97D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2:00:22.201" v="6290" actId="22"/>
        <pc:sldMkLst>
          <pc:docMk/>
          <pc:sldMk cId="3529038993" sldId="406"/>
        </pc:sldMkLst>
        <pc:spChg chg="mod">
          <ac:chgData name="Takaaki Masaki" userId="56a88eee-ec65-40f9-8642-be59fd24ba9b" providerId="ADAL" clId="{B854D024-8FF7-452B-B2F9-8E2041F90BBF}" dt="2024-04-16T02:00:10.303" v="6286" actId="20577"/>
          <ac:spMkLst>
            <pc:docMk/>
            <pc:sldMk cId="3529038993" sldId="406"/>
            <ac:spMk id="2" creationId="{8A7492A7-0B38-4B2C-3C24-6C55FF08F590}"/>
          </ac:spMkLst>
        </pc:spChg>
        <pc:spChg chg="mod">
          <ac:chgData name="Takaaki Masaki" userId="56a88eee-ec65-40f9-8642-be59fd24ba9b" providerId="ADAL" clId="{B854D024-8FF7-452B-B2F9-8E2041F90BBF}" dt="2024-04-16T01:59:44.869" v="6279" actId="20577"/>
          <ac:spMkLst>
            <pc:docMk/>
            <pc:sldMk cId="3529038993" sldId="406"/>
            <ac:spMk id="3" creationId="{30A8AF0D-5184-8770-2341-7714174405D9}"/>
          </ac:spMkLst>
        </pc:spChg>
        <pc:spChg chg="add del">
          <ac:chgData name="Takaaki Masaki" userId="56a88eee-ec65-40f9-8642-be59fd24ba9b" providerId="ADAL" clId="{B854D024-8FF7-452B-B2F9-8E2041F90BBF}" dt="2024-04-16T02:00:19.597" v="6288" actId="22"/>
          <ac:spMkLst>
            <pc:docMk/>
            <pc:sldMk cId="3529038993" sldId="406"/>
            <ac:spMk id="7" creationId="{5F3626DA-E855-6798-CA80-522518F93C3A}"/>
          </ac:spMkLst>
        </pc:spChg>
        <pc:spChg chg="add del">
          <ac:chgData name="Takaaki Masaki" userId="56a88eee-ec65-40f9-8642-be59fd24ba9b" providerId="ADAL" clId="{B854D024-8FF7-452B-B2F9-8E2041F90BBF}" dt="2024-04-16T02:00:22.201" v="6290" actId="22"/>
          <ac:spMkLst>
            <pc:docMk/>
            <pc:sldMk cId="3529038993" sldId="406"/>
            <ac:spMk id="9" creationId="{FF2A765E-A358-E92A-20EF-54F6DD825968}"/>
          </ac:spMkLst>
        </pc:spChg>
      </pc:sldChg>
      <pc:sldChg chg="modSp new mod">
        <pc:chgData name="Takaaki Masaki" userId="56a88eee-ec65-40f9-8642-be59fd24ba9b" providerId="ADAL" clId="{B854D024-8FF7-452B-B2F9-8E2041F90BBF}" dt="2024-04-16T02:00:37.737" v="6337" actId="20577"/>
        <pc:sldMkLst>
          <pc:docMk/>
          <pc:sldMk cId="3765743482" sldId="407"/>
        </pc:sldMkLst>
        <pc:spChg chg="mod">
          <ac:chgData name="Takaaki Masaki" userId="56a88eee-ec65-40f9-8642-be59fd24ba9b" providerId="ADAL" clId="{B854D024-8FF7-452B-B2F9-8E2041F90BBF}" dt="2024-04-16T02:00:37.737" v="6337" actId="20577"/>
          <ac:spMkLst>
            <pc:docMk/>
            <pc:sldMk cId="3765743482" sldId="407"/>
            <ac:spMk id="2" creationId="{B0E843B3-BC3C-F710-6A84-27C4E12157BF}"/>
          </ac:spMkLst>
        </pc:spChg>
      </pc:sldChg>
      <pc:sldChg chg="delSp new del mod">
        <pc:chgData name="Takaaki Masaki" userId="56a88eee-ec65-40f9-8642-be59fd24ba9b" providerId="ADAL" clId="{B854D024-8FF7-452B-B2F9-8E2041F90BBF}" dt="2024-04-16T02:03:28.992" v="6352" actId="47"/>
        <pc:sldMkLst>
          <pc:docMk/>
          <pc:sldMk cId="3613431818" sldId="408"/>
        </pc:sldMkLst>
        <pc:spChg chg="del">
          <ac:chgData name="Takaaki Masaki" userId="56a88eee-ec65-40f9-8642-be59fd24ba9b" providerId="ADAL" clId="{B854D024-8FF7-452B-B2F9-8E2041F90BBF}" dt="2024-04-16T02:03:22.560" v="6350" actId="478"/>
          <ac:spMkLst>
            <pc:docMk/>
            <pc:sldMk cId="3613431818" sldId="408"/>
            <ac:spMk id="2" creationId="{975EDAC3-807D-2ABD-5F40-6202DFD45972}"/>
          </ac:spMkLst>
        </pc:spChg>
        <pc:spChg chg="del">
          <ac:chgData name="Takaaki Masaki" userId="56a88eee-ec65-40f9-8642-be59fd24ba9b" providerId="ADAL" clId="{B854D024-8FF7-452B-B2F9-8E2041F90BBF}" dt="2024-04-16T02:03:24.452" v="6351" actId="478"/>
          <ac:spMkLst>
            <pc:docMk/>
            <pc:sldMk cId="3613431818" sldId="408"/>
            <ac:spMk id="3" creationId="{BECB1389-CB0B-BC7A-A14D-BBF07B992EA0}"/>
          </ac:spMkLst>
        </pc:spChg>
      </pc:sldChg>
      <pc:sldChg chg="modSp add mod">
        <pc:chgData name="Takaaki Masaki" userId="56a88eee-ec65-40f9-8642-be59fd24ba9b" providerId="ADAL" clId="{B854D024-8FF7-452B-B2F9-8E2041F90BBF}" dt="2024-04-16T06:16:33.406" v="7900" actId="20577"/>
        <pc:sldMkLst>
          <pc:docMk/>
          <pc:sldMk cId="4251493382" sldId="408"/>
        </pc:sldMkLst>
        <pc:spChg chg="mod">
          <ac:chgData name="Takaaki Masaki" userId="56a88eee-ec65-40f9-8642-be59fd24ba9b" providerId="ADAL" clId="{B854D024-8FF7-452B-B2F9-8E2041F90BBF}" dt="2024-04-16T02:03:46.911" v="6375" actId="20577"/>
          <ac:spMkLst>
            <pc:docMk/>
            <pc:sldMk cId="4251493382" sldId="408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6T06:16:33.406" v="7900" actId="20577"/>
          <ac:spMkLst>
            <pc:docMk/>
            <pc:sldMk cId="4251493382" sldId="408"/>
            <ac:spMk id="3" creationId="{35687254-75A8-3D93-A988-32C7B33F1C6E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3:05:09.807" v="7457" actId="20577"/>
        <pc:sldMkLst>
          <pc:docMk/>
          <pc:sldMk cId="2976705690" sldId="409"/>
        </pc:sldMkLst>
        <pc:spChg chg="mod">
          <ac:chgData name="Takaaki Masaki" userId="56a88eee-ec65-40f9-8642-be59fd24ba9b" providerId="ADAL" clId="{B854D024-8FF7-452B-B2F9-8E2041F90BBF}" dt="2024-04-16T03:05:09.807" v="7457" actId="20577"/>
          <ac:spMkLst>
            <pc:docMk/>
            <pc:sldMk cId="2976705690" sldId="409"/>
            <ac:spMk id="3" creationId="{35687254-75A8-3D93-A988-32C7B33F1C6E}"/>
          </ac:spMkLst>
        </pc:spChg>
        <pc:spChg chg="add del">
          <ac:chgData name="Takaaki Masaki" userId="56a88eee-ec65-40f9-8642-be59fd24ba9b" providerId="ADAL" clId="{B854D024-8FF7-452B-B2F9-8E2041F90BBF}" dt="2024-04-16T03:02:22.805" v="7229" actId="22"/>
          <ac:spMkLst>
            <pc:docMk/>
            <pc:sldMk cId="2976705690" sldId="409"/>
            <ac:spMk id="6" creationId="{6D43C906-9357-ECF3-3565-76167EF2E1DB}"/>
          </ac:spMkLst>
        </pc:spChg>
        <pc:spChg chg="add del mod">
          <ac:chgData name="Takaaki Masaki" userId="56a88eee-ec65-40f9-8642-be59fd24ba9b" providerId="ADAL" clId="{B854D024-8FF7-452B-B2F9-8E2041F90BBF}" dt="2024-04-16T03:02:40.677" v="7237" actId="22"/>
          <ac:spMkLst>
            <pc:docMk/>
            <pc:sldMk cId="2976705690" sldId="409"/>
            <ac:spMk id="9" creationId="{B83A6C71-026F-E6FE-7ACD-3CDF6FA996E5}"/>
          </ac:spMkLst>
        </pc:spChg>
        <pc:picChg chg="add del mod">
          <ac:chgData name="Takaaki Masaki" userId="56a88eee-ec65-40f9-8642-be59fd24ba9b" providerId="ADAL" clId="{B854D024-8FF7-452B-B2F9-8E2041F90BBF}" dt="2024-04-16T03:04:01.360" v="7240" actId="21"/>
          <ac:picMkLst>
            <pc:docMk/>
            <pc:sldMk cId="2976705690" sldId="409"/>
            <ac:picMk id="11" creationId="{70CBE846-CBF9-3DA6-30CC-BC414EBFD2F3}"/>
          </ac:picMkLst>
        </pc:picChg>
      </pc:sldChg>
      <pc:sldChg chg="addSp delSp modSp add mod addCm delCm modCm">
        <pc:chgData name="Takaaki Masaki" userId="56a88eee-ec65-40f9-8642-be59fd24ba9b" providerId="ADAL" clId="{B854D024-8FF7-452B-B2F9-8E2041F90BBF}" dt="2024-04-16T06:38:51.713" v="7992" actId="20577"/>
        <pc:sldMkLst>
          <pc:docMk/>
          <pc:sldMk cId="4052735160" sldId="410"/>
        </pc:sldMkLst>
        <pc:spChg chg="mod">
          <ac:chgData name="Takaaki Masaki" userId="56a88eee-ec65-40f9-8642-be59fd24ba9b" providerId="ADAL" clId="{B854D024-8FF7-452B-B2F9-8E2041F90BBF}" dt="2024-04-16T06:38:51.713" v="7992" actId="20577"/>
          <ac:spMkLst>
            <pc:docMk/>
            <pc:sldMk cId="4052735160" sldId="410"/>
            <ac:spMk id="2" creationId="{18772FE0-9CC7-8E4F-A04D-DFD4A2C11F45}"/>
          </ac:spMkLst>
        </pc:spChg>
        <pc:spChg chg="del mod">
          <ac:chgData name="Takaaki Masaki" userId="56a88eee-ec65-40f9-8642-be59fd24ba9b" providerId="ADAL" clId="{B854D024-8FF7-452B-B2F9-8E2041F90BBF}" dt="2024-04-16T02:36:45.176" v="7224" actId="478"/>
          <ac:spMkLst>
            <pc:docMk/>
            <pc:sldMk cId="4052735160" sldId="410"/>
            <ac:spMk id="3" creationId="{35687254-75A8-3D93-A988-32C7B33F1C6E}"/>
          </ac:spMkLst>
        </pc:spChg>
        <pc:picChg chg="add del mod">
          <ac:chgData name="Takaaki Masaki" userId="56a88eee-ec65-40f9-8642-be59fd24ba9b" providerId="ADAL" clId="{B854D024-8FF7-452B-B2F9-8E2041F90BBF}" dt="2024-04-16T03:30:31.033" v="7525" actId="478"/>
          <ac:picMkLst>
            <pc:docMk/>
            <pc:sldMk cId="4052735160" sldId="410"/>
            <ac:picMk id="4" creationId="{B038B10B-D222-AEE1-A277-9743A9DD096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6T03:07:22.807" v="7505"/>
              <pc2:cmMkLst xmlns:pc2="http://schemas.microsoft.com/office/powerpoint/2019/9/main/command">
                <pc:docMk/>
                <pc:sldMk cId="4052735160" sldId="410"/>
                <pc2:cmMk id="{ADA5A834-7D56-4494-BE7A-72F84DC420AD}"/>
              </pc2:cmMkLst>
            </pc226:cmChg>
          </p:ext>
        </pc:extLst>
      </pc:sldChg>
      <pc:sldChg chg="addSp delSp modSp add mod delCm modCm">
        <pc:chgData name="Takaaki Masaki" userId="56a88eee-ec65-40f9-8642-be59fd24ba9b" providerId="ADAL" clId="{B854D024-8FF7-452B-B2F9-8E2041F90BBF}" dt="2024-04-16T03:32:17.557" v="7542" actId="14100"/>
        <pc:sldMkLst>
          <pc:docMk/>
          <pc:sldMk cId="3674562387" sldId="411"/>
        </pc:sldMkLst>
        <pc:spChg chg="mod">
          <ac:chgData name="Takaaki Masaki" userId="56a88eee-ec65-40f9-8642-be59fd24ba9b" providerId="ADAL" clId="{B854D024-8FF7-452B-B2F9-8E2041F90BBF}" dt="2024-04-16T03:07:14.074" v="7503" actId="20577"/>
          <ac:spMkLst>
            <pc:docMk/>
            <pc:sldMk cId="3674562387" sldId="411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3:08:56.574" v="7524" actId="20577"/>
          <ac:spMkLst>
            <pc:docMk/>
            <pc:sldMk cId="3674562387" sldId="411"/>
            <ac:spMk id="3" creationId="{3B707632-D4D1-EA2A-584D-73B1343B7EBB}"/>
          </ac:spMkLst>
        </pc:spChg>
        <pc:picChg chg="del">
          <ac:chgData name="Takaaki Masaki" userId="56a88eee-ec65-40f9-8642-be59fd24ba9b" providerId="ADAL" clId="{B854D024-8FF7-452B-B2F9-8E2041F90BBF}" dt="2024-04-16T03:07:08.546" v="7487" actId="478"/>
          <ac:picMkLst>
            <pc:docMk/>
            <pc:sldMk cId="3674562387" sldId="411"/>
            <ac:picMk id="4" creationId="{B038B10B-D222-AEE1-A277-9743A9DD096C}"/>
          </ac:picMkLst>
        </pc:picChg>
        <pc:picChg chg="add mod ord">
          <ac:chgData name="Takaaki Masaki" userId="56a88eee-ec65-40f9-8642-be59fd24ba9b" providerId="ADAL" clId="{B854D024-8FF7-452B-B2F9-8E2041F90BBF}" dt="2024-04-16T03:31:24.950" v="7536" actId="14100"/>
          <ac:picMkLst>
            <pc:docMk/>
            <pc:sldMk cId="3674562387" sldId="411"/>
            <ac:picMk id="8" creationId="{B651A04F-8D15-B073-04AB-03CE0EBF56B1}"/>
          </ac:picMkLst>
        </pc:picChg>
        <pc:picChg chg="add mod ord">
          <ac:chgData name="Takaaki Masaki" userId="56a88eee-ec65-40f9-8642-be59fd24ba9b" providerId="ADAL" clId="{B854D024-8FF7-452B-B2F9-8E2041F90BBF}" dt="2024-04-16T03:31:20.719" v="7535" actId="14100"/>
          <ac:picMkLst>
            <pc:docMk/>
            <pc:sldMk cId="3674562387" sldId="411"/>
            <ac:picMk id="10" creationId="{BCD72DDB-A3A0-A16B-7DE3-1A4A4881BC98}"/>
          </ac:picMkLst>
        </pc:picChg>
        <pc:cxnChg chg="add mod">
          <ac:chgData name="Takaaki Masaki" userId="56a88eee-ec65-40f9-8642-be59fd24ba9b" providerId="ADAL" clId="{B854D024-8FF7-452B-B2F9-8E2041F90BBF}" dt="2024-04-16T03:32:17.557" v="7542" actId="14100"/>
          <ac:cxnSpMkLst>
            <pc:docMk/>
            <pc:sldMk cId="3674562387" sldId="411"/>
            <ac:cxnSpMk id="12" creationId="{174C157D-6918-1B59-FBF2-923D7F4A15AA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6T03:07:18.070" v="7504"/>
              <pc2:cmMkLst xmlns:pc2="http://schemas.microsoft.com/office/powerpoint/2019/9/main/command">
                <pc:docMk/>
                <pc:sldMk cId="3674562387" sldId="411"/>
                <pc2:cmMk id="{3AA27A36-9D80-4F68-8D76-CFC17EDBCE62}"/>
              </pc2:cmMkLst>
            </pc226:cmChg>
          </p:ext>
        </pc:extLst>
      </pc:sldChg>
      <pc:sldChg chg="addSp delSp modSp add mod">
        <pc:chgData name="Takaaki Masaki" userId="56a88eee-ec65-40f9-8642-be59fd24ba9b" providerId="ADAL" clId="{B854D024-8FF7-452B-B2F9-8E2041F90BBF}" dt="2024-04-16T06:50:45.111" v="8214" actId="1076"/>
        <pc:sldMkLst>
          <pc:docMk/>
          <pc:sldMk cId="3792973182" sldId="412"/>
        </pc:sldMkLst>
        <pc:spChg chg="mod">
          <ac:chgData name="Takaaki Masaki" userId="56a88eee-ec65-40f9-8642-be59fd24ba9b" providerId="ADAL" clId="{B854D024-8FF7-452B-B2F9-8E2041F90BBF}" dt="2024-04-16T06:40:58.256" v="8012" actId="20577"/>
          <ac:spMkLst>
            <pc:docMk/>
            <pc:sldMk cId="3792973182" sldId="412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6:43:21.673" v="8036" actId="113"/>
          <ac:spMkLst>
            <pc:docMk/>
            <pc:sldMk cId="3792973182" sldId="412"/>
            <ac:spMk id="3" creationId="{740CBCDD-CA8F-C445-613A-86BDB0FAC944}"/>
          </ac:spMkLst>
        </pc:spChg>
        <pc:spChg chg="add del">
          <ac:chgData name="Takaaki Masaki" userId="56a88eee-ec65-40f9-8642-be59fd24ba9b" providerId="ADAL" clId="{B854D024-8FF7-452B-B2F9-8E2041F90BBF}" dt="2024-04-16T06:42:38.657" v="8019"/>
          <ac:spMkLst>
            <pc:docMk/>
            <pc:sldMk cId="3792973182" sldId="412"/>
            <ac:spMk id="4" creationId="{6AD09008-5E0C-3B81-058F-A2AAD87D7B0C}"/>
          </ac:spMkLst>
        </pc:spChg>
        <pc:spChg chg="add del">
          <ac:chgData name="Takaaki Masaki" userId="56a88eee-ec65-40f9-8642-be59fd24ba9b" providerId="ADAL" clId="{B854D024-8FF7-452B-B2F9-8E2041F90BBF}" dt="2024-04-16T06:42:42.595" v="8022"/>
          <ac:spMkLst>
            <pc:docMk/>
            <pc:sldMk cId="3792973182" sldId="412"/>
            <ac:spMk id="6" creationId="{A5F8FC34-D2B9-3D9C-DCC2-2A813F16A017}"/>
          </ac:spMkLst>
        </pc:spChg>
        <pc:spChg chg="add mod">
          <ac:chgData name="Takaaki Masaki" userId="56a88eee-ec65-40f9-8642-be59fd24ba9b" providerId="ADAL" clId="{B854D024-8FF7-452B-B2F9-8E2041F90BBF}" dt="2024-04-16T06:46:06.704" v="8052" actId="1076"/>
          <ac:spMkLst>
            <pc:docMk/>
            <pc:sldMk cId="3792973182" sldId="412"/>
            <ac:spMk id="11" creationId="{EDFF8260-B93F-D336-2B9C-A97A7B8F1E72}"/>
          </ac:spMkLst>
        </pc:spChg>
        <pc:spChg chg="add mod">
          <ac:chgData name="Takaaki Masaki" userId="56a88eee-ec65-40f9-8642-be59fd24ba9b" providerId="ADAL" clId="{B854D024-8FF7-452B-B2F9-8E2041F90BBF}" dt="2024-04-16T06:46:21.450" v="8057" actId="20577"/>
          <ac:spMkLst>
            <pc:docMk/>
            <pc:sldMk cId="3792973182" sldId="412"/>
            <ac:spMk id="12" creationId="{47EF2AE4-C1C6-61C3-EA82-F1BD50AB6176}"/>
          </ac:spMkLst>
        </pc:spChg>
        <pc:spChg chg="add mod">
          <ac:chgData name="Takaaki Masaki" userId="56a88eee-ec65-40f9-8642-be59fd24ba9b" providerId="ADAL" clId="{B854D024-8FF7-452B-B2F9-8E2041F90BBF}" dt="2024-04-16T06:46:37.024" v="8064" actId="1076"/>
          <ac:spMkLst>
            <pc:docMk/>
            <pc:sldMk cId="3792973182" sldId="412"/>
            <ac:spMk id="13" creationId="{83951FCC-0FB8-3D49-06E3-953C337ADEBE}"/>
          </ac:spMkLst>
        </pc:spChg>
        <pc:spChg chg="add mod">
          <ac:chgData name="Takaaki Masaki" userId="56a88eee-ec65-40f9-8642-be59fd24ba9b" providerId="ADAL" clId="{B854D024-8FF7-452B-B2F9-8E2041F90BBF}" dt="2024-04-16T06:46:47.713" v="8072" actId="1076"/>
          <ac:spMkLst>
            <pc:docMk/>
            <pc:sldMk cId="3792973182" sldId="412"/>
            <ac:spMk id="14" creationId="{3F6CC84C-CBEA-FB31-04C1-40D9A4CB47E8}"/>
          </ac:spMkLst>
        </pc:spChg>
        <pc:spChg chg="add mod">
          <ac:chgData name="Takaaki Masaki" userId="56a88eee-ec65-40f9-8642-be59fd24ba9b" providerId="ADAL" clId="{B854D024-8FF7-452B-B2F9-8E2041F90BBF}" dt="2024-04-16T06:50:45.111" v="8214" actId="1076"/>
          <ac:spMkLst>
            <pc:docMk/>
            <pc:sldMk cId="3792973182" sldId="412"/>
            <ac:spMk id="15" creationId="{6C4A7011-DCC3-612E-A926-78D7666FC0AD}"/>
          </ac:spMkLst>
        </pc:spChg>
        <pc:spChg chg="add mod">
          <ac:chgData name="Takaaki Masaki" userId="56a88eee-ec65-40f9-8642-be59fd24ba9b" providerId="ADAL" clId="{B854D024-8FF7-452B-B2F9-8E2041F90BBF}" dt="2024-04-16T06:50:01.141" v="8203" actId="20577"/>
          <ac:spMkLst>
            <pc:docMk/>
            <pc:sldMk cId="3792973182" sldId="412"/>
            <ac:spMk id="16" creationId="{D3D8C039-A715-394A-BA93-33BD8EEE58AD}"/>
          </ac:spMkLst>
        </pc:spChg>
        <pc:spChg chg="add mod">
          <ac:chgData name="Takaaki Masaki" userId="56a88eee-ec65-40f9-8642-be59fd24ba9b" providerId="ADAL" clId="{B854D024-8FF7-452B-B2F9-8E2041F90BBF}" dt="2024-04-16T06:48:40.952" v="8158" actId="20577"/>
          <ac:spMkLst>
            <pc:docMk/>
            <pc:sldMk cId="3792973182" sldId="412"/>
            <ac:spMk id="17" creationId="{4DC8789B-10CA-353F-76D6-9D09A0DA8E48}"/>
          </ac:spMkLst>
        </pc:spChg>
        <pc:spChg chg="add mod">
          <ac:chgData name="Takaaki Masaki" userId="56a88eee-ec65-40f9-8642-be59fd24ba9b" providerId="ADAL" clId="{B854D024-8FF7-452B-B2F9-8E2041F90BBF}" dt="2024-04-16T06:50:16.352" v="8208" actId="20577"/>
          <ac:spMkLst>
            <pc:docMk/>
            <pc:sldMk cId="3792973182" sldId="412"/>
            <ac:spMk id="18" creationId="{FB7E4A97-551E-B186-C193-CF81EC10E199}"/>
          </ac:spMkLst>
        </pc:spChg>
        <pc:picChg chg="add mod">
          <ac:chgData name="Takaaki Masaki" userId="56a88eee-ec65-40f9-8642-be59fd24ba9b" providerId="ADAL" clId="{B854D024-8FF7-452B-B2F9-8E2041F90BBF}" dt="2024-04-16T06:45:45.089" v="8041" actId="14100"/>
          <ac:picMkLst>
            <pc:docMk/>
            <pc:sldMk cId="3792973182" sldId="412"/>
            <ac:picMk id="9" creationId="{0401DBDE-8E4B-4F74-0110-38A2C2C227C7}"/>
          </ac:picMkLst>
        </pc:picChg>
        <pc:cxnChg chg="add mod">
          <ac:chgData name="Takaaki Masaki" userId="56a88eee-ec65-40f9-8642-be59fd24ba9b" providerId="ADAL" clId="{B854D024-8FF7-452B-B2F9-8E2041F90BBF}" dt="2024-04-16T06:44:52.146" v="8039"/>
          <ac:cxnSpMkLst>
            <pc:docMk/>
            <pc:sldMk cId="3792973182" sldId="412"/>
            <ac:cxnSpMk id="10" creationId="{A407B77C-DAC7-C741-A200-B1F040E8FFB4}"/>
          </ac:cxnSpMkLst>
        </pc:cxnChg>
      </pc:sldChg>
      <pc:sldChg chg="new del">
        <pc:chgData name="Takaaki Masaki" userId="56a88eee-ec65-40f9-8642-be59fd24ba9b" providerId="ADAL" clId="{B854D024-8FF7-452B-B2F9-8E2041F90BBF}" dt="2024-04-16T03:36:43.634" v="7545" actId="47"/>
        <pc:sldMkLst>
          <pc:docMk/>
          <pc:sldMk cId="3598747688" sldId="413"/>
        </pc:sldMkLst>
      </pc:sldChg>
      <pc:sldChg chg="modSp new mod">
        <pc:chgData name="Takaaki Masaki" userId="56a88eee-ec65-40f9-8642-be59fd24ba9b" providerId="ADAL" clId="{B854D024-8FF7-452B-B2F9-8E2041F90BBF}" dt="2024-04-16T06:38:21.064" v="7972" actId="20577"/>
        <pc:sldMkLst>
          <pc:docMk/>
          <pc:sldMk cId="3828297443" sldId="413"/>
        </pc:sldMkLst>
        <pc:spChg chg="mod">
          <ac:chgData name="Takaaki Masaki" userId="56a88eee-ec65-40f9-8642-be59fd24ba9b" providerId="ADAL" clId="{B854D024-8FF7-452B-B2F9-8E2041F90BBF}" dt="2024-04-16T06:38:09.230" v="7954" actId="20577"/>
          <ac:spMkLst>
            <pc:docMk/>
            <pc:sldMk cId="3828297443" sldId="413"/>
            <ac:spMk id="2" creationId="{9774F7B0-7FDC-BFB7-DFF5-B94C49DFE24C}"/>
          </ac:spMkLst>
        </pc:spChg>
        <pc:spChg chg="mod">
          <ac:chgData name="Takaaki Masaki" userId="56a88eee-ec65-40f9-8642-be59fd24ba9b" providerId="ADAL" clId="{B854D024-8FF7-452B-B2F9-8E2041F90BBF}" dt="2024-04-16T06:38:21.064" v="7972" actId="20577"/>
          <ac:spMkLst>
            <pc:docMk/>
            <pc:sldMk cId="3828297443" sldId="413"/>
            <ac:spMk id="3" creationId="{111B91D4-34F4-9CB4-24D9-8F3386DB9B54}"/>
          </ac:spMkLst>
        </pc:spChg>
      </pc:sldChg>
      <pc:sldChg chg="new del">
        <pc:chgData name="Takaaki Masaki" userId="56a88eee-ec65-40f9-8642-be59fd24ba9b" providerId="ADAL" clId="{B854D024-8FF7-452B-B2F9-8E2041F90BBF}" dt="2024-04-16T06:42:24.959" v="8016" actId="47"/>
        <pc:sldMkLst>
          <pc:docMk/>
          <pc:sldMk cId="3001835587" sldId="414"/>
        </pc:sldMkLst>
      </pc:sldChg>
      <pc:sldChg chg="add del">
        <pc:chgData name="Takaaki Masaki" userId="56a88eee-ec65-40f9-8642-be59fd24ba9b" providerId="ADAL" clId="{B854D024-8FF7-452B-B2F9-8E2041F90BBF}" dt="2024-04-16T06:42:20.411" v="8015"/>
        <pc:sldMkLst>
          <pc:docMk/>
          <pc:sldMk cId="2518103559" sldId="415"/>
        </pc:sldMkLst>
      </pc:sldChg>
      <pc:sldMasterChg chg="delSldLayout">
        <pc:chgData name="Takaaki Masaki" userId="56a88eee-ec65-40f9-8642-be59fd24ba9b" providerId="ADAL" clId="{B854D024-8FF7-452B-B2F9-8E2041F90BBF}" dt="2024-04-02T04:32:00.170" v="163" actId="2696"/>
        <pc:sldMasterMkLst>
          <pc:docMk/>
          <pc:sldMasterMk cId="0" sldId="2147485265"/>
        </pc:sldMasterMkLst>
        <pc:sldLayoutChg chg="del">
          <pc:chgData name="Takaaki Masaki" userId="56a88eee-ec65-40f9-8642-be59fd24ba9b" providerId="ADAL" clId="{B854D024-8FF7-452B-B2F9-8E2041F90BBF}" dt="2024-04-02T04:32:00.170" v="163" actId="2696"/>
          <pc:sldLayoutMkLst>
            <pc:docMk/>
            <pc:sldMasterMk cId="0" sldId="2147485265"/>
            <pc:sldLayoutMk cId="3620978242" sldId="2147485527"/>
          </pc:sldLayoutMkLst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038A554F-BCE7-DF24-746C-1A6464DDBFA7}"/>
    <pc:docChg chg="modSld">
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37.724" v="14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038A554F-BCE7-DF24-746C-1A6464DDBFA7}" dt="2022-03-05T14:45:20.192" v="5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20.192" v="5" actId="20577"/>
          <ac:spMkLst>
            <pc:docMk/>
            <pc:sldMk cId="553589282" sldId="261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44B223A6-420D-8FF2-2B3D-FD91B3FCC96C}"/>
    <pc:docChg chg="delSld modSld">
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44B223A6-420D-8FF2-2B3D-FD91B3FCC96C}" dt="2022-03-07T05:40:17.852" v="0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5:40:17.852" v="0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del">
        <pc:chgData name="Revocatus Washington Paul" userId="S::catuspaul_gmail.com#ext#@worldbankgroup.onmicrosoft.com::b13f5400-0b53-417f-9ea3-8ee32bb124d8" providerId="AD" clId="Web-{44B223A6-420D-8FF2-2B3D-FD91B3FCC96C}" dt="2022-03-07T05:47:58.862" v="1"/>
        <pc:sldMkLst>
          <pc:docMk/>
          <pc:sldMk cId="3176795038" sldId="360"/>
        </pc:sldMkLst>
      </pc:sldChg>
      <pc:sldChg chg="modSp">
  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6:00:20.113" v="6" actId="20577"/>
          <ac:spMkLst>
            <pc:docMk/>
            <pc:sldMk cId="3425921230" sldId="361"/>
            <ac:spMk id="2" creationId="{6F428DEF-BC7B-45A2-BAA3-03E55AD44AF2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86D7B360-6B5F-0921-39BB-B2D396EA8310}"/>
    <pc:docChg chg="addSld modSld">
      <pc:chgData name="Koichi Ito" userId="S::koichi19960406_gmail.com#ext#@worldbankgroup.onmicrosoft.com::f9ef8c51-761c-4d11-abde-96febf25f02b" providerId="AD" clId="Web-{86D7B360-6B5F-0921-39BB-B2D396EA8310}" dt="2022-02-03T13:44:19.120" v="29" actId="20577"/>
      <pc:docMkLst>
        <pc:docMk/>
      </pc:docMkLst>
      <pc:sldChg chg="modSp add replId">
        <pc:chgData name="Koichi Ito" userId="S::koichi19960406_gmail.com#ext#@worldbankgroup.onmicrosoft.com::f9ef8c51-761c-4d11-abde-96febf25f02b" providerId="AD" clId="Web-{86D7B360-6B5F-0921-39BB-B2D396EA8310}" dt="2022-02-03T13:44:19.120" v="29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86D7B360-6B5F-0921-39BB-B2D396EA8310}" dt="2022-02-03T13:43:39.792" v="24" actId="20577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Koichi Ito" userId="S::koichi19960406_gmail.com#ext#@worldbankgroup.onmicrosoft.com::f9ef8c51-761c-4d11-abde-96febf25f02b" providerId="AD" clId="Web-{86D7B360-6B5F-0921-39BB-B2D396EA8310}" dt="2022-02-03T13:44:19.120" v="29" actId="20577"/>
          <ac:spMkLst>
            <pc:docMk/>
            <pc:sldMk cId="2023954067" sldId="309"/>
            <ac:spMk id="9" creationId="{11AE8FD6-28B8-E047-BDD4-CA697AEDA5F6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26A754E3-6C0E-BD6E-F938-A2FA3555344F}"/>
    <pc:docChg chg="addSld delSld modSld">
      <pc:chgData name="Koichi Ito" userId="S::koichi19960406_gmail.com#ext#@worldbankgroup.onmicrosoft.com::f9ef8c51-761c-4d11-abde-96febf25f02b" providerId="AD" clId="Web-{26A754E3-6C0E-BD6E-F938-A2FA3555344F}" dt="2022-03-15T02:55:18.590" v="5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6A754E3-6C0E-BD6E-F938-A2FA3555344F}" dt="2022-03-15T02:30:47.838" v="6" actId="20577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7.838" v="6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4.025" v="2" actId="20577"/>
        <pc:sldMkLst>
          <pc:docMk/>
          <pc:sldMk cId="1901022434" sldId="2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4.025" v="2" actId="20577"/>
          <ac:spMkLst>
            <pc:docMk/>
            <pc:sldMk cId="1901022434" sldId="267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6.432" v="3" actId="20577"/>
        <pc:sldMkLst>
          <pc:docMk/>
          <pc:sldMk cId="467404387" sldId="28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6.432" v="3" actId="20577"/>
          <ac:spMkLst>
            <pc:docMk/>
            <pc:sldMk cId="467404387" sldId="282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40.604" v="4" actId="20577"/>
        <pc:sldMkLst>
          <pc:docMk/>
          <pc:sldMk cId="647443771" sldId="28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0.604" v="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33.621" v="41" actId="1076"/>
        <pc:sldMkLst>
          <pc:docMk/>
          <pc:sldMk cId="3530554265" sldId="306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0.793" v="26" actId="20577"/>
          <ac:spMkLst>
            <pc:docMk/>
            <pc:sldMk cId="3530554265" sldId="306"/>
            <ac:spMk id="2" creationId="{0E35C533-CB0A-1A46-9517-CDACEABE50DD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47:33.621" v="41" actId="1076"/>
          <ac:spMkLst>
            <pc:docMk/>
            <pc:sldMk cId="3530554265" sldId="306"/>
            <ac:spMk id="8" creationId="{6F60B2D8-B5AB-FA4A-A396-D3121EA05CD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47.339" v="23" actId="20577"/>
        <pc:sldMkLst>
          <pc:docMk/>
          <pc:sldMk cId="2763826054" sldId="30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47.339" v="23" actId="20577"/>
          <ac:spMkLst>
            <pc:docMk/>
            <pc:sldMk cId="2763826054" sldId="307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7.105" v="30" actId="20577"/>
        <pc:sldMkLst>
          <pc:docMk/>
          <pc:sldMk cId="3233704736" sldId="30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7.105" v="30" actId="20577"/>
          <ac:spMkLst>
            <pc:docMk/>
            <pc:sldMk cId="3233704736" sldId="308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55:18.590" v="50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1.246" v="32" actId="20577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1:26.684" v="48" actId="20577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5:18.590" v="50" actId="20577"/>
          <ac:spMkLst>
            <pc:docMk/>
            <pc:sldMk cId="2023954067" sldId="309"/>
            <ac:spMk id="11" creationId="{E50EADCA-CE8B-D24B-A647-60C021402BD5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3.543" v="28" actId="20577"/>
        <pc:sldMkLst>
          <pc:docMk/>
          <pc:sldMk cId="3140862157" sldId="311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3.543" v="28" actId="20577"/>
          <ac:spMkLst>
            <pc:docMk/>
            <pc:sldMk cId="3140862157" sldId="311"/>
            <ac:spMk id="2" creationId="{4EF2E5EE-3E6D-E043-82F8-0E98C0C5F99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04.902" v="34" actId="20577"/>
        <pc:sldMkLst>
          <pc:docMk/>
          <pc:sldMk cId="386681203" sldId="31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4.902" v="34" actId="20577"/>
          <ac:spMkLst>
            <pc:docMk/>
            <pc:sldMk cId="386681203" sldId="312"/>
            <ac:spMk id="2" creationId="{4EF2E5EE-3E6D-E043-82F8-0E98C0C5F99C}"/>
          </ac:spMkLst>
        </pc:spChg>
      </pc:sldChg>
      <pc:sldChg chg="addSp modSp">
        <pc:chgData name="Koichi Ito" userId="S::koichi19960406_gmail.com#ext#@worldbankgroup.onmicrosoft.com::f9ef8c51-761c-4d11-abde-96febf25f02b" providerId="AD" clId="Web-{26A754E3-6C0E-BD6E-F938-A2FA3555344F}" dt="2022-03-15T02:51:07.340" v="42"/>
        <pc:sldMkLst>
          <pc:docMk/>
          <pc:sldMk cId="2440085736" sldId="313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8.839" v="37" actId="20577"/>
          <ac:spMkLst>
            <pc:docMk/>
            <pc:sldMk cId="2440085736" sldId="313"/>
            <ac:spMk id="2" creationId="{18C0CF12-81D5-0D4F-A24F-3BAC5546F0A4}"/>
          </ac:spMkLst>
        </pc:spChg>
        <pc:cxnChg chg="add">
          <ac:chgData name="Koichi Ito" userId="S::koichi19960406_gmail.com#ext#@worldbankgroup.onmicrosoft.com::f9ef8c51-761c-4d11-abde-96febf25f02b" providerId="AD" clId="Web-{26A754E3-6C0E-BD6E-F938-A2FA3555344F}" dt="2022-03-15T02:51:07.340" v="42"/>
          <ac:cxnSpMkLst>
            <pc:docMk/>
            <pc:sldMk cId="2440085736" sldId="313"/>
            <ac:cxnSpMk id="3" creationId="{6620D635-D8FD-49DE-BA3B-5E37B479651C}"/>
          </ac:cxnSpMkLst>
        </pc:cxn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11.621" v="40" actId="20577"/>
        <pc:sldMkLst>
          <pc:docMk/>
          <pc:sldMk cId="2561012292" sldId="31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11.621" v="40" actId="20577"/>
          <ac:spMkLst>
            <pc:docMk/>
            <pc:sldMk cId="2561012292" sldId="314"/>
            <ac:spMk id="2" creationId="{18C0CF12-81D5-0D4F-A24F-3BAC5546F0A4}"/>
          </ac:spMkLst>
        </pc:spChg>
      </pc:sldChg>
      <pc:sldChg chg="add del replId">
        <pc:chgData name="Koichi Ito" userId="S::koichi19960406_gmail.com#ext#@worldbankgroup.onmicrosoft.com::f9ef8c51-761c-4d11-abde-96febf25f02b" providerId="AD" clId="Web-{26A754E3-6C0E-BD6E-F938-A2FA3555344F}" dt="2022-03-15T02:46:10.980" v="8"/>
        <pc:sldMkLst>
          <pc:docMk/>
          <pc:sldMk cId="1300598863" sldId="367"/>
        </pc:sldMkLst>
      </pc:sldChg>
      <pc:sldChg chg="modSp add">
        <pc:chgData name="Koichi Ito" userId="S::koichi19960406_gmail.com#ext#@worldbankgroup.onmicrosoft.com::f9ef8c51-761c-4d11-abde-96febf25f02b" providerId="AD" clId="Web-{26A754E3-6C0E-BD6E-F938-A2FA3555344F}" dt="2022-03-15T02:46:34.449" v="20" actId="20577"/>
        <pc:sldMkLst>
          <pc:docMk/>
          <pc:sldMk cId="2209748277" sldId="3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34.449" v="20" actId="20577"/>
          <ac:spMkLst>
            <pc:docMk/>
            <pc:sldMk cId="2209748277" sldId="367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80358206-4865-14AD-67C4-C06D1028BACA}"/>
    <pc:docChg chg="modSld">
      <pc:chgData name="Revocatus Washington Paul" userId="S::catuspaul_gmail.com#ext#@worldbankgroup.onmicrosoft.com::b13f5400-0b53-417f-9ea3-8ee32bb124d8" providerId="AD" clId="Web-{80358206-4865-14AD-67C4-C06D1028BACA}" dt="2022-03-09T11:55:24.334" v="5" actId="1076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0358206-4865-14AD-67C4-C06D1028BACA}" dt="2022-03-09T11:55:24.334" v="5" actId="1076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0358206-4865-14AD-67C4-C06D1028BACA}" dt="2022-03-09T11:55:24.334" v="5" actId="1076"/>
          <ac:spMkLst>
            <pc:docMk/>
            <pc:sldMk cId="3961101582" sldId="260"/>
            <ac:spMk id="9" creationId="{F532BA4A-A990-489E-B307-A9F9E61EDCED}"/>
          </ac:spMkLst>
        </pc:sp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9.364" v="3" actId="1076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4:56.130" v="0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6.942" v="2" actId="1076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0.333" v="1" actId="1076"/>
          <ac:picMkLst>
            <pc:docMk/>
            <pc:sldMk cId="3961101582" sldId="260"/>
            <ac:picMk id="15" creationId="{3266C12F-7B37-BA43-8F50-A6CD031FA368}"/>
          </ac:picMkLst>
        </pc:picChg>
      </pc:sldChg>
    </pc:docChg>
  </pc:docChgLst>
  <pc:docChgLst>
    <pc:chgData name="Takaaki Masaki" userId="S::tmasaki@worldbank.org::56a88eee-ec65-40f9-8642-be59fd24ba9b" providerId="AD" clId="Web-{C454709B-1875-DB4A-261D-98AFE6D7F35B}"/>
    <pc:docChg chg="modSld">
      <pc:chgData name="Takaaki Masaki" userId="S::tmasaki@worldbank.org::56a88eee-ec65-40f9-8642-be59fd24ba9b" providerId="AD" clId="Web-{C454709B-1875-DB4A-261D-98AFE6D7F35B}" dt="2022-03-16T07:23:00.423" v="16" actId="1076"/>
      <pc:docMkLst>
        <pc:docMk/>
      </pc:docMkLst>
      <pc:sldChg chg="modSp">
        <pc:chgData name="Takaaki Masaki" userId="S::tmasaki@worldbank.org::56a88eee-ec65-40f9-8642-be59fd24ba9b" providerId="AD" clId="Web-{C454709B-1875-DB4A-261D-98AFE6D7F35B}" dt="2022-03-16T07:20:55.892" v="5" actId="20577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C454709B-1875-DB4A-261D-98AFE6D7F35B}" dt="2022-03-16T07:20:55.892" v="5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1:28.861" v="11" actId="1076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C454709B-1875-DB4A-261D-98AFE6D7F35B}" dt="2022-03-16T07:21:28.861" v="11" actId="1076"/>
          <ac:spMkLst>
            <pc:docMk/>
            <pc:sldMk cId="4043904794" sldId="36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3:00.423" v="16" actId="1076"/>
        <pc:sldMkLst>
          <pc:docMk/>
          <pc:sldMk cId="1632203755" sldId="368"/>
        </pc:sldMkLst>
        <pc:spChg chg="mod">
          <ac:chgData name="Takaaki Masaki" userId="S::tmasaki@worldbank.org::56a88eee-ec65-40f9-8642-be59fd24ba9b" providerId="AD" clId="Web-{C454709B-1875-DB4A-261D-98AFE6D7F35B}" dt="2022-03-16T07:23:00.423" v="16" actId="1076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FE9D2749-58DA-F478-FEE1-F4A2E926C9C8}"/>
    <pc:docChg chg="addSld delSld modSld sldOrd">
      <pc:chgData name="Koichi Ito" userId="S::koichi19960406_gmail.com#ext#@worldbankgroup.onmicrosoft.com::f9ef8c51-761c-4d11-abde-96febf25f02b" providerId="AD" clId="Web-{FE9D2749-58DA-F478-FEE1-F4A2E926C9C8}" dt="2022-01-24T04:16:31.617" v="369" actId="20577"/>
      <pc:docMkLst>
        <pc:docMk/>
      </pc:docMkLst>
      <pc:sldChg chg="modSp new">
        <pc:chgData name="Koichi Ito" userId="S::koichi19960406_gmail.com#ext#@worldbankgroup.onmicrosoft.com::f9ef8c51-761c-4d11-abde-96febf25f02b" providerId="AD" clId="Web-{FE9D2749-58DA-F478-FEE1-F4A2E926C9C8}" dt="2022-01-24T03:54:24.255" v="43" actId="20577"/>
        <pc:sldMkLst>
          <pc:docMk/>
          <pc:sldMk cId="2539712035" sldId="256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4:24.255" v="43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4:16.989" v="41" actId="20577"/>
          <ac:spMkLst>
            <pc:docMk/>
            <pc:sldMk cId="2539712035" sldId="256"/>
            <ac:spMk id="3" creationId="{9BD1DEA5-3A2E-4FD9-9036-60D3104EA00D}"/>
          </ac:spMkLst>
        </pc:spChg>
      </pc:sldChg>
      <pc:sldChg chg="modSp new">
        <pc:chgData name="Koichi Ito" userId="S::koichi19960406_gmail.com#ext#@worldbankgroup.onmicrosoft.com::f9ef8c51-761c-4d11-abde-96febf25f02b" providerId="AD" clId="Web-{FE9D2749-58DA-F478-FEE1-F4A2E926C9C8}" dt="2022-01-24T03:56:12.208" v="60" actId="20577"/>
        <pc:sldMkLst>
          <pc:docMk/>
          <pc:sldMk cId="3352592262" sldId="257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3:45.770" v="35" actId="20577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6:12.208" v="60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new add del">
        <pc:chgData name="Koichi Ito" userId="S::koichi19960406_gmail.com#ext#@worldbankgroup.onmicrosoft.com::f9ef8c51-761c-4d11-abde-96febf25f02b" providerId="AD" clId="Web-{FE9D2749-58DA-F478-FEE1-F4A2E926C9C8}" dt="2022-01-24T04:11:49.210" v="324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8:53.350" v="298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modSp new">
        <pc:chgData name="Koichi Ito" userId="S::koichi19960406_gmail.com#ext#@worldbankgroup.onmicrosoft.com::f9ef8c51-761c-4d11-abde-96febf25f02b" providerId="AD" clId="Web-{FE9D2749-58DA-F478-FEE1-F4A2E926C9C8}" dt="2022-01-24T04:09:00.460" v="299" actId="20577"/>
        <pc:sldMkLst>
          <pc:docMk/>
          <pc:sldMk cId="34186525" sldId="259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9:00.460" v="299" actId="20577"/>
          <ac:spMkLst>
            <pc:docMk/>
            <pc:sldMk cId="34186525" sldId="259"/>
            <ac:spMk id="2" creationId="{09CD81EE-B286-4472-B6C7-555E5DCEFABA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47.428" v="141"/>
          <ac:spMkLst>
            <pc:docMk/>
            <pc:sldMk cId="34186525" sldId="259"/>
            <ac:spMk id="3" creationId="{C0D19C57-9536-4636-A60B-4384ACD86707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54.553" v="143"/>
          <ac:spMkLst>
            <pc:docMk/>
            <pc:sldMk cId="34186525" sldId="259"/>
            <ac:spMk id="4" creationId="{450474C6-5574-49DB-9CFF-7F14BA8FB345}"/>
          </ac:spMkLst>
        </pc:spChg>
        <pc:spChg chg="del mod">
          <ac:chgData name="Koichi Ito" userId="S::koichi19960406_gmail.com#ext#@worldbankgroup.onmicrosoft.com::f9ef8c51-761c-4d11-abde-96febf25f02b" providerId="AD" clId="Web-{FE9D2749-58DA-F478-FEE1-F4A2E926C9C8}" dt="2022-01-24T04:02:22.162" v="136"/>
          <ac:spMkLst>
            <pc:docMk/>
            <pc:sldMk cId="34186525" sldId="259"/>
            <ac:spMk id="5" creationId="{94F985B1-BC7D-47E5-9BA8-C1FBA27CB966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32.287" v="138"/>
          <ac:spMkLst>
            <pc:docMk/>
            <pc:sldMk cId="34186525" sldId="259"/>
            <ac:spMk id="6" creationId="{11581A38-AED0-4E74-B4EF-9F24929B1616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15.944" v="227" actId="20577"/>
          <ac:spMkLst>
            <pc:docMk/>
            <pc:sldMk cId="34186525" sldId="259"/>
            <ac:spMk id="9" creationId="{52D291E5-8425-48C4-B4B1-5590CCA76623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53.631" v="239" actId="20577"/>
          <ac:spMkLst>
            <pc:docMk/>
            <pc:sldMk cId="34186525" sldId="259"/>
            <ac:spMk id="10" creationId="{3D720C60-C4D9-4305-8531-10BE67CE83F9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8:12.335" v="290" actId="20577"/>
          <ac:spMkLst>
            <pc:docMk/>
            <pc:sldMk cId="34186525" sldId="259"/>
            <ac:spMk id="11" creationId="{C2A7A6E2-F95B-4638-A8D3-98A65FEBD951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2:53.693" v="142" actId="14100"/>
          <ac:spMkLst>
            <pc:docMk/>
            <pc:sldMk cId="34186525" sldId="259"/>
            <ac:spMk id="12" creationId="{73CBD350-4A43-4B97-B9D6-835EE8C9AAFD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3:58:55.833" v="65"/>
        <pc:sldMkLst>
          <pc:docMk/>
          <pc:sldMk cId="2847148138" sldId="259"/>
        </pc:sldMkLst>
      </pc:sldChg>
      <pc:sldChg chg="addSp delSp new add del ord">
        <pc:chgData name="Koichi Ito" userId="S::koichi19960406_gmail.com#ext#@worldbankgroup.onmicrosoft.com::f9ef8c51-761c-4d11-abde-96febf25f02b" providerId="AD" clId="Web-{FE9D2749-58DA-F478-FEE1-F4A2E926C9C8}" dt="2022-01-24T04:10:50.022" v="315"/>
        <pc:sldMkLst>
          <pc:docMk/>
          <pc:sldMk cId="533032709" sldId="260"/>
        </pc:sldMkLst>
        <pc:spChg chg="add del">
          <ac:chgData name="Koichi Ito" userId="S::koichi19960406_gmail.com#ext#@worldbankgroup.onmicrosoft.com::f9ef8c51-761c-4d11-abde-96febf25f02b" providerId="AD" clId="Web-{FE9D2749-58DA-F478-FEE1-F4A2E926C9C8}" dt="2022-01-24T04:10:34.179" v="307"/>
          <ac:spMkLst>
            <pc:docMk/>
            <pc:sldMk cId="533032709" sldId="260"/>
            <ac:spMk id="3" creationId="{11CBD3F7-48F1-4795-9DD4-9C09E24FC9C2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1"/>
          <ac:spMkLst>
            <pc:docMk/>
            <pc:sldMk cId="533032709" sldId="260"/>
            <ac:spMk id="7" creationId="{4941782B-AC47-483D-87BC-612E2CD74C2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0"/>
          <ac:spMkLst>
            <pc:docMk/>
            <pc:sldMk cId="533032709" sldId="260"/>
            <ac:spMk id="9" creationId="{BC0CDCA1-8123-4E8E-875F-4E136F32748E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9"/>
          <ac:spMkLst>
            <pc:docMk/>
            <pc:sldMk cId="533032709" sldId="260"/>
            <ac:spMk id="11" creationId="{A767ADE7-A4A6-488F-B9CA-3E69FCD9BAE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8"/>
          <ac:spMkLst>
            <pc:docMk/>
            <pc:sldMk cId="533032709" sldId="260"/>
            <ac:spMk id="13" creationId="{10BD7590-6E40-40EB-8D12-962B0DFAD89D}"/>
          </ac:spMkLst>
        </pc:spChg>
      </pc:sldChg>
      <pc:sldChg chg="modSp new del">
        <pc:chgData name="Koichi Ito" userId="S::koichi19960406_gmail.com#ext#@worldbankgroup.onmicrosoft.com::f9ef8c51-761c-4d11-abde-96febf25f02b" providerId="AD" clId="Web-{FE9D2749-58DA-F478-FEE1-F4A2E926C9C8}" dt="2022-01-24T04:11:52.460" v="325"/>
        <pc:sldMkLst>
          <pc:docMk/>
          <pc:sldMk cId="2043045507" sldId="260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11:47.882" v="323" actId="20577"/>
          <ac:spMkLst>
            <pc:docMk/>
            <pc:sldMk cId="2043045507" sldId="260"/>
            <ac:spMk id="2" creationId="{17BA886E-53C6-450E-93ED-FDB2D9EF7FDB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4:10:57.022" v="317"/>
        <pc:sldMkLst>
          <pc:docMk/>
          <pc:sldMk cId="3454413313" sldId="260"/>
        </pc:sldMkLst>
      </pc:sldChg>
      <pc:sldChg chg="addSp delSp modSp new ord">
        <pc:chgData name="Koichi Ito" userId="S::koichi19960406_gmail.com#ext#@worldbankgroup.onmicrosoft.com::f9ef8c51-761c-4d11-abde-96febf25f02b" providerId="AD" clId="Web-{FE9D2749-58DA-F478-FEE1-F4A2E926C9C8}" dt="2022-01-24T04:16:31.617" v="369" actId="20577"/>
        <pc:sldMkLst>
          <pc:docMk/>
          <pc:sldMk cId="3961101582" sldId="260"/>
        </pc:sldMkLst>
        <pc:spChg chg="del">
          <ac:chgData name="Koichi Ito" userId="S::koichi19960406_gmail.com#ext#@worldbankgroup.onmicrosoft.com::f9ef8c51-761c-4d11-abde-96febf25f02b" providerId="AD" clId="Web-{FE9D2749-58DA-F478-FEE1-F4A2E926C9C8}" dt="2022-01-24T04:12:35.569" v="332"/>
          <ac:spMkLst>
            <pc:docMk/>
            <pc:sldMk cId="3961101582" sldId="260"/>
            <ac:spMk id="3" creationId="{4A214B6A-3F6D-4A22-B7FF-849B46459787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6:31.617" v="369" actId="20577"/>
          <ac:spMkLst>
            <pc:docMk/>
            <pc:sldMk cId="3961101582" sldId="260"/>
            <ac:spMk id="7" creationId="{830ED3FE-7061-4E0F-BC7E-960A9CCC803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01" v="342" actId="1076"/>
          <ac:spMkLst>
            <pc:docMk/>
            <pc:sldMk cId="3961101582" sldId="260"/>
            <ac:spMk id="9" creationId="{F532BA4A-A990-489E-B307-A9F9E61EDCED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16" v="343" actId="1076"/>
          <ac:spMkLst>
            <pc:docMk/>
            <pc:sldMk cId="3961101582" sldId="260"/>
            <ac:spMk id="11" creationId="{DC51FDCE-E443-4382-9E82-7EE25A39880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53.413" v="355" actId="20577"/>
          <ac:spMkLst>
            <pc:docMk/>
            <pc:sldMk cId="3961101582" sldId="260"/>
            <ac:spMk id="13" creationId="{E487931E-8006-4906-9028-C01C28E93ABC}"/>
          </ac:spMkLst>
        </pc:spChg>
        <pc:picChg chg="add mod">
          <ac:chgData name="Koichi Ito" userId="S::koichi19960406_gmail.com#ext#@worldbankgroup.onmicrosoft.com::f9ef8c51-761c-4d11-abde-96febf25f02b" providerId="AD" clId="Web-{FE9D2749-58DA-F478-FEE1-F4A2E926C9C8}" dt="2022-01-24T04:16:28.601" v="367" actId="1076"/>
          <ac:picMkLst>
            <pc:docMk/>
            <pc:sldMk cId="3961101582" sldId="260"/>
            <ac:picMk id="14" creationId="{6288863C-56FC-42BE-8808-E015F6AD110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5782D1-AABD-4822-B9C2-EE85321944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0EFB94-546F-4076-B279-41DB9F8043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2C63188-A52F-4FEF-945E-43D45B180FA7}" type="datetimeFigureOut">
              <a:rPr lang="en-US"/>
              <a:pPr>
                <a:defRPr/>
              </a:pPr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97E84B-66E0-46AB-BCAC-26896E0A36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66B3D-A0CD-45F5-8990-D319D3FB5AC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CA3D67EF-B722-4632-937F-B75BBAA76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5CC343-787A-426F-A0B3-AB686D5864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F48461-461F-4EB4-8308-94326B81C16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90B4CA9-F196-45F6-AADB-6C202B15EDC1}" type="datetimeFigureOut">
              <a:rPr lang="en-US"/>
              <a:pPr>
                <a:defRPr/>
              </a:pPr>
              <a:t>4/29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EB494ED-C13B-4EFD-AD8B-50643978DEB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30" tIns="44865" rIns="89730" bIns="4486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FFE2BB3-C7D4-4852-8E77-59352A5591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6421" y="4344025"/>
            <a:ext cx="5485158" cy="4114488"/>
          </a:xfrm>
          <a:prstGeom prst="rect">
            <a:avLst/>
          </a:prstGeom>
        </p:spPr>
        <p:txBody>
          <a:bodyPr vert="horz" lIns="89730" tIns="44865" rIns="89730" bIns="4486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3DA833-60F4-461A-9DAD-5200F1BBB3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FBEF2F-B700-485E-AB54-86A73EBEAB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2F8C79BD-1E3F-42A3-BA11-F282A6885F9F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82164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1744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book.geemap.org/chapters/11_applications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6247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19818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6735597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541776082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4393951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6664318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43247085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5124825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21580207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6141086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677689056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2767595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979419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771157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9982952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448663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260782398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28395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S and spatial analysis issues and top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414301-F86B-6045-820F-C98268E46E6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MS PGothic" panose="020B0600070205080204" pitchFamily="34" charset="-128"/>
                <a:cs typeface="Arial"/>
              </a:rPr>
              <a:pPr marL="0" marR="0" lvl="0" indent="0" algn="l" defTabSz="4567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200951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0192375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183133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998540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4914800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39001426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104317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60800877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85206835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093598170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97235906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0306923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6304311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75384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937485406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38850930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706606857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917981392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9598226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25988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828316098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978242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D13FE4-A4BC-4B02-AF9A-61027DA75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5075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D13FE4-A4BC-4B02-AF9A-61027DA75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39C2AE-0220-49D4-A4B5-3D6E38616A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Font typeface="Arial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356351"/>
            <a:ext cx="457200" cy="365125"/>
          </a:xfrm>
        </p:spPr>
        <p:txBody>
          <a:bodyPr/>
          <a:lstStyle>
            <a:lvl1pPr algn="ctr">
              <a:defRPr/>
            </a:lvl1pPr>
          </a:lstStyle>
          <a:p>
            <a:fld id="{7F143DD0-D33F-F74D-AC0D-D3F4FD97373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228FF7-A1BE-4F27-ADCB-1C1C826ED9E2}" type="datetime1">
              <a:rPr lang="en-US" smtClean="0"/>
              <a:t>4/2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63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82275708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97102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47004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7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91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7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9" y="6116640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18781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31535-932A-4C86-AB61-6DE103765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29F0E9-D2AA-48D1-A5BD-8877D68A71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84AB5C-BEEA-4025-AA1D-0A1DFB47E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839AA5-571F-4D76-B0CB-5D74C2020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CB010-0833-49B7-9A64-A4CE008DA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2BDE6-154B-48D7-B83E-4DDE65FE62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4470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822924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034977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899929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4650303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>
            <a:extLst>
              <a:ext uri="{FF2B5EF4-FFF2-40B4-BE49-F238E27FC236}">
                <a16:creationId xmlns:a16="http://schemas.microsoft.com/office/drawing/2014/main" id="{B860B886-E91D-410D-BF9F-1AE7433ADE3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97DBB43-0A59-47D5-A1F5-7059D3682D0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ADA595-92A9-4B98-AA7B-ECE1B6F956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03B09E-A190-40DB-B7C3-7DF9280DEA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2" r:id="rId1"/>
    <p:sldLayoutId id="2147485433" r:id="rId2"/>
    <p:sldLayoutId id="2147485434" r:id="rId3"/>
    <p:sldLayoutId id="2147485456" r:id="rId4"/>
    <p:sldLayoutId id="2147485530" r:id="rId5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fontAlgn="base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20" r:id="rId4"/>
    <p:sldLayoutId id="2147485421" r:id="rId5"/>
    <p:sldLayoutId id="2147485422" r:id="rId6"/>
    <p:sldLayoutId id="2147485423" r:id="rId7"/>
    <p:sldLayoutId id="2147485424" r:id="rId8"/>
    <p:sldLayoutId id="2147485425" r:id="rId9"/>
    <p:sldLayoutId id="2147485438" r:id="rId10"/>
    <p:sldLayoutId id="2147485426" r:id="rId11"/>
    <p:sldLayoutId id="2147485439" r:id="rId12"/>
    <p:sldLayoutId id="2147485427" r:id="rId13"/>
    <p:sldLayoutId id="2147485428" r:id="rId14"/>
    <p:sldLayoutId id="2147485429" r:id="rId15"/>
    <p:sldLayoutId id="2147485430" r:id="rId16"/>
    <p:sldLayoutId id="2147485440" r:id="rId17"/>
    <p:sldLayoutId id="2147485431" r:id="rId18"/>
    <p:sldLayoutId id="2147485525" r:id="rId19"/>
    <p:sldLayoutId id="2147485526" r:id="rId20"/>
    <p:sldLayoutId id="2147485528" r:id="rId21"/>
    <p:sldLayoutId id="2147485522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3603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4" r:id="rId1"/>
    <p:sldLayoutId id="2147485475" r:id="rId2"/>
    <p:sldLayoutId id="2147485476" r:id="rId3"/>
    <p:sldLayoutId id="2147485477" r:id="rId4"/>
    <p:sldLayoutId id="2147485478" r:id="rId5"/>
    <p:sldLayoutId id="2147485479" r:id="rId6"/>
    <p:sldLayoutId id="2147485480" r:id="rId7"/>
    <p:sldLayoutId id="2147485481" r:id="rId8"/>
    <p:sldLayoutId id="2147485482" r:id="rId9"/>
    <p:sldLayoutId id="2147485483" r:id="rId10"/>
    <p:sldLayoutId id="2147485484" r:id="rId11"/>
    <p:sldLayoutId id="2147485485" r:id="rId12"/>
    <p:sldLayoutId id="2147485486" r:id="rId13"/>
    <p:sldLayoutId id="2147485487" r:id="rId14"/>
    <p:sldLayoutId id="2147485488" r:id="rId15"/>
    <p:sldLayoutId id="2147485489" r:id="rId16"/>
    <p:sldLayoutId id="2147485490" r:id="rId17"/>
    <p:sldLayoutId id="2147485491" r:id="rId18"/>
    <p:sldLayoutId id="2147485492" r:id="rId19"/>
    <p:sldLayoutId id="2147485493" r:id="rId20"/>
    <p:sldLayoutId id="2147485523" r:id="rId21"/>
    <p:sldLayoutId id="2147485531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2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5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50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8" r:id="rId1"/>
    <p:sldLayoutId id="2147485499" r:id="rId2"/>
    <p:sldLayoutId id="2147485500" r:id="rId3"/>
    <p:sldLayoutId id="2147485502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spatial_training_2024/blob/main/code/day6/6-demo.ipynb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3.safelinks.protection.outlook.com/?url=https%3A%2F%2Fdesktop.github.com%2F&amp;data=02%7C01%7Ctmasaki%40worldbank.org%7C5d0ff22daa804ec5417708d740fe6c0a%7C31a2fec0266b4c67b56e2796d8f59c36%7C0%7C0%7C637049333812818302&amp;sdata=tvSNkaBi%2Fm8J%2FKiClwDU6JHXdJGnjjnRqvIiYx6HHJ0%3D&amp;reserved=0" TargetMode="External"/><Relationship Id="rId2" Type="http://schemas.openxmlformats.org/officeDocument/2006/relationships/hyperlink" Target="https://nam03.safelinks.protection.outlook.com/?url=https%3A%2F%2Fgithub.com%2F&amp;data=02%7C01%7Ctmasaki%40worldbank.org%7C5d0ff22daa804ec5417708d740fe6c0a%7C31a2fec0266b4c67b56e2796d8f59c36%7C0%7C0%7C637049333812818302&amp;sdata=6KcgE2XUKKFaRRkAZPyaaGNlDoLc8avrn3%2BKYrqlcAA%3D&amp;reserved=0" TargetMode="External"/><Relationship Id="rId1" Type="http://schemas.openxmlformats.org/officeDocument/2006/relationships/slideLayout" Target="../slideLayouts/slideLayout49.xml"/><Relationship Id="rId5" Type="http://schemas.openxmlformats.org/officeDocument/2006/relationships/hyperlink" Target="https://www.sourcetreeapp.com/" TargetMode="External"/><Relationship Id="rId4" Type="http://schemas.openxmlformats.org/officeDocument/2006/relationships/hyperlink" Target="https://www.gitkraken.com/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gKGOeTFHnKY" TargetMode="Externa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earthengine.google.com/" TargetMode="Externa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/succes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s://geemap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B4985-5844-4EB1-9DE5-6177B9061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Day 6: introduction to google earth engine (GEE) and </a:t>
            </a:r>
            <a:r>
              <a:rPr lang="en-US" dirty="0" err="1">
                <a:ea typeface="+mj-lt"/>
                <a:cs typeface="+mj-lt"/>
              </a:rPr>
              <a:t>github</a:t>
            </a:r>
            <a:endParaRPr lang="en-US" b="0" dirty="0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3673E8-12C1-4920-980E-880DA27CB9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Takaaki Masaki</a:t>
            </a:r>
            <a:endParaRPr lang="en-US" sz="1800" dirty="0">
              <a:latin typeface="Arial" panose="020B0604020202020204" pitchFamily="34" charset="0"/>
            </a:endParaRPr>
          </a:p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Revocatus Paul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148C4B5-924E-41B6-900F-2AC7725246C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-1482" r="211"/>
          <a:stretch/>
        </p:blipFill>
        <p:spPr>
          <a:xfrm>
            <a:off x="170122" y="4932933"/>
            <a:ext cx="5135525" cy="1159705"/>
          </a:xfrm>
        </p:spPr>
      </p:pic>
    </p:spTree>
    <p:extLst>
      <p:ext uri="{BB962C8B-B14F-4D97-AF65-F5344CB8AC3E}">
        <p14:creationId xmlns:p14="http://schemas.microsoft.com/office/powerpoint/2010/main" val="2539712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w you are ready to use GEE!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e in the following in Anaconda Prompt:</a:t>
            </a:r>
          </a:p>
          <a:p>
            <a:pPr marL="272034" lvl="2" indent="0">
              <a:buNone/>
            </a:pPr>
            <a:endParaRPr lang="en-US" dirty="0">
              <a:solidFill>
                <a:srgbClr val="36464E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d “**path**“</a:t>
            </a:r>
          </a:p>
          <a:p>
            <a:pPr marL="272034" lvl="2" indent="0">
              <a:buNone/>
            </a:pP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notebook</a:t>
            </a:r>
          </a:p>
          <a:p>
            <a:pPr marL="0" lvl="2" indent="0">
              <a:spcBef>
                <a:spcPts val="1200"/>
              </a:spcBef>
              <a:buClr>
                <a:srgbClr val="404040"/>
              </a:buClr>
              <a:buNone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This path should be where your .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yn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de exists.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tebook: server-client application that allows editing and running notebook documents via a web browser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will take you to a web browser where you can write scripts to run analysis in Python (or other programming language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528430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7B8E4-7A3C-153A-F862-EA4B0B558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ample: Downloading NDVI data and computing zonal statistics through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482B78-A21D-BE49-1A94-EA2DBCE2491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F85B8D-3F4C-BDC2-1B76-B739A6F92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72F42E-817A-7CC3-FC2C-5A6C2540E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0</a:t>
            </a:fld>
            <a:endParaRPr lang="en-US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283D66-CCED-4AFA-956B-6CA0B633C9F3}"/>
              </a:ext>
            </a:extLst>
          </p:cNvPr>
          <p:cNvSpPr txBox="1"/>
          <p:nvPr/>
        </p:nvSpPr>
        <p:spPr>
          <a:xfrm>
            <a:off x="3698875" y="3105686"/>
            <a:ext cx="15151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6-demo.ipyn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578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itHub</a:t>
            </a:r>
          </a:p>
        </p:txBody>
      </p:sp>
    </p:spTree>
    <p:extLst>
      <p:ext uri="{BB962C8B-B14F-4D97-AF65-F5344CB8AC3E}">
        <p14:creationId xmlns:p14="http://schemas.microsoft.com/office/powerpoint/2010/main" val="3482774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+mn-lt"/>
              </a:rPr>
              <a:t>ability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to duplicate the results of a prior study using the same results of a prior study using the same materials and procedures as were used by the original investigator – </a:t>
            </a:r>
            <a:r>
              <a:rPr lang="en-US" i="1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Bollen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et al (2015)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Most researchers, at one point, have been unable to reproduce their </a:t>
            </a:r>
            <a:r>
              <a:rPr lang="en-US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own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results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is happens quite often at our institution as well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run our own programs and get different results?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shared a project with a colleague and she gets different results? Or a colleague shares a project with you and you can’t reproduce their published results?</a:t>
            </a:r>
          </a:p>
          <a:p>
            <a:pPr lvl="1">
              <a:buFontTx/>
              <a:buChar char="-"/>
            </a:pPr>
            <a:endParaRPr lang="en-US" dirty="0">
              <a:latin typeface="+mn-lt"/>
            </a:endParaRP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357188" y="771525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oducibility – a crisis</a:t>
            </a:r>
          </a:p>
        </p:txBody>
      </p:sp>
    </p:spTree>
    <p:extLst>
      <p:ext uri="{BB962C8B-B14F-4D97-AF65-F5344CB8AC3E}">
        <p14:creationId xmlns:p14="http://schemas.microsoft.com/office/powerpoint/2010/main" val="3949650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80" y="1234281"/>
            <a:ext cx="8478837" cy="4389437"/>
          </a:xfrm>
        </p:spPr>
        <p:txBody>
          <a:bodyPr/>
          <a:lstStyle/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Reproducibility can only be achieved if you have the following ingredients in plac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software is use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programs are used – e.g. do-files and </a:t>
            </a:r>
            <a:r>
              <a:rPr lang="en-US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ados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data is used</a:t>
            </a:r>
          </a:p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When things go right no one notices, but when they don’t it’s a different story.</a:t>
            </a: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oday we will go over how to set things up so you can achieve this with less pain</a:t>
            </a:r>
          </a:p>
          <a:p>
            <a:pPr lvl="1"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504411" y="386628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+mn-lt"/>
              </a:rPr>
              <a:t>Reproducibility requires planning</a:t>
            </a:r>
          </a:p>
        </p:txBody>
      </p:sp>
    </p:spTree>
    <p:extLst>
      <p:ext uri="{BB962C8B-B14F-4D97-AF65-F5344CB8AC3E}">
        <p14:creationId xmlns:p14="http://schemas.microsoft.com/office/powerpoint/2010/main" val="2058420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07705-2363-48B8-A03D-3D9DAFD7E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576199"/>
          </a:xfrm>
        </p:spPr>
        <p:txBody>
          <a:bodyPr/>
          <a:lstStyle/>
          <a:p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are Git and </a:t>
            </a:r>
            <a:r>
              <a:rPr lang="en-US" b="1" dirty="0" err="1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60F19-BE99-4175-8B04-FDF35971B1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319" y="1251109"/>
            <a:ext cx="3738122" cy="530526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developer application that allows for version control, allowing you to: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ert files or the whole project to an earlier state;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e changes over time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e who modified what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modifications by collaborators by permission of admin/owners.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>
              <a:solidFill>
                <a:srgbClr val="00234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repository hosting service for Git, providing a web-based graphical interface that works on top of Git. It can also be treated as a social platform to share knowledge and work or provide access control and several collaboration features.</a:t>
            </a:r>
          </a:p>
          <a:p>
            <a:endParaRPr lang="en-US" sz="1600" dirty="0">
              <a:solidFill>
                <a:srgbClr val="00234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CBF63A-08EC-4758-A575-618142811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06BC87-1C75-4D0A-9C5C-0D7916B0DE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192" t="23806" r="44681" b="43475"/>
          <a:stretch/>
        </p:blipFill>
        <p:spPr>
          <a:xfrm>
            <a:off x="4203910" y="2391866"/>
            <a:ext cx="4776772" cy="272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926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2C7C-E811-44E6-A6D7-A9056AD53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73735"/>
          </a:xfrm>
        </p:spPr>
        <p:txBody>
          <a:bodyPr/>
          <a:lstStyle/>
          <a:p>
            <a:r>
              <a:rPr lang="en-US" dirty="0"/>
              <a:t>Workflow through </a:t>
            </a:r>
            <a:r>
              <a:rPr lang="en-US" dirty="0" err="1"/>
              <a:t>github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18FBA-0F1F-4FED-954C-AFE8A6575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137A80-04E1-4C6E-8704-38AA8E00461E}"/>
              </a:ext>
            </a:extLst>
          </p:cNvPr>
          <p:cNvSpPr txBox="1">
            <a:spLocks/>
          </p:cNvSpPr>
          <p:nvPr/>
        </p:nvSpPr>
        <p:spPr>
          <a:xfrm>
            <a:off x="220297" y="1311919"/>
            <a:ext cx="8703406" cy="353090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repository" (project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k or clone the repository to your local machine</a:t>
            </a:r>
          </a:p>
          <a:p>
            <a:pPr lvl="1"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k: copy without affecting the original</a:t>
            </a:r>
          </a:p>
          <a:p>
            <a:pPr lvl="1"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ne: copy with intention to contribute to making changes to the original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d a file to your local repo and "commit" (save) the changes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branch" (version), make a change, commit the change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en a "pull request" (propose changes to the master branch) (Use Case 1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["Merge" your branch to the master branch] (Use Case 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2793CF-E166-4FEF-9FA5-C776287D2A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320" t="48203" r="29574" b="25130"/>
          <a:stretch/>
        </p:blipFill>
        <p:spPr>
          <a:xfrm>
            <a:off x="357188" y="4793865"/>
            <a:ext cx="3413642" cy="17007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8C6478-9665-4ABD-8BB1-A2248F52EC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128" t="50000" r="28617" b="22293"/>
          <a:stretch/>
        </p:blipFill>
        <p:spPr>
          <a:xfrm>
            <a:off x="5075648" y="4793865"/>
            <a:ext cx="3200565" cy="170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894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F67B6-FC4E-4613-812F-DD33A0A7C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up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deskt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A3E3A-D18B-4926-A5F2-26C1A57CD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reate your own GitHub account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You can use your own personal email or work email to sign up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Please us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Chrome, Firefox, or Safari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s GitHub does not work on Internet Explor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ownload GitHub Desktop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is a Graphical User Interface (GUI) that allows you to work efficiently with GitHub repositories and implement various features (e.g., push, pull, branch, merg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lease note that there are other GUIs available lik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itKrake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SourceTree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mong others. Check to see which one best fits your needs.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A0F8CD-81E8-44A7-993C-55AEB52CD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0611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8879A-59CC-4A68-A87F-2A10ACE31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e a repositor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76A64CA-57C8-4626-AB64-DDE4427AF8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288" r="68165" b="47773"/>
          <a:stretch/>
        </p:blipFill>
        <p:spPr>
          <a:xfrm>
            <a:off x="4764641" y="1977792"/>
            <a:ext cx="3896474" cy="336930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F2F05F-5B8A-43D8-A800-63A5BF1CC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9A49F91-8BB0-4082-8846-312B857403A1}"/>
              </a:ext>
            </a:extLst>
          </p:cNvPr>
          <p:cNvSpPr txBox="1">
            <a:spLocks/>
          </p:cNvSpPr>
          <p:nvPr/>
        </p:nvSpPr>
        <p:spPr bwMode="auto">
          <a:xfrm>
            <a:off x="263275" y="1885950"/>
            <a:ext cx="3506057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Go to your GitHub pag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Create a new repository by clicking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Set a repository nam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You have the option of making the repository public or private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rivate, no one except for your collaborators can see what’s in the repository. But then, there is a limit on the number of collaborators (up to 3) you can have for private repositories. 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ublic, all the items in the repository will be made public. There is no limit on the number of collaborators for public repositories. 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42573E1-9DCE-4AA8-A0A2-65042580FCD9}"/>
              </a:ext>
            </a:extLst>
          </p:cNvPr>
          <p:cNvSpPr/>
          <p:nvPr/>
        </p:nvSpPr>
        <p:spPr bwMode="auto">
          <a:xfrm>
            <a:off x="6280079" y="2976644"/>
            <a:ext cx="685800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>
              <a:cs typeface="Times New Roman" pitchFamily="18" charset="0"/>
            </a:endParaRPr>
          </a:p>
        </p:txBody>
      </p:sp>
      <p:pic>
        <p:nvPicPr>
          <p:cNvPr id="12" name="Content Placeholder 4">
            <a:extLst>
              <a:ext uri="{FF2B5EF4-FFF2-40B4-BE49-F238E27FC236}">
                <a16:creationId xmlns:a16="http://schemas.microsoft.com/office/drawing/2014/main" id="{7FB6D2D2-EFAC-437B-9572-DADEDE1475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651" t="20944" r="82949" b="75922"/>
          <a:stretch/>
        </p:blipFill>
        <p:spPr bwMode="auto">
          <a:xfrm>
            <a:off x="3642832" y="2247935"/>
            <a:ext cx="416103" cy="215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50725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3BA164-3E75-2A7C-D1BB-E9F0CDFAF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854" y="3263164"/>
            <a:ext cx="7461504" cy="35948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B51765-FB66-4391-A803-9E3F3A378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706110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Fork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255459"/>
            <a:ext cx="8478837" cy="438943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en GitHub Desktop on your laptop and sign 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(or clone) a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repository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o your local machine by clicking on “Code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elect “Open with GitHub Desktop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D3DFA99-7489-4564-ABFE-8E150486BC23}"/>
              </a:ext>
            </a:extLst>
          </p:cNvPr>
          <p:cNvSpPr/>
          <p:nvPr/>
        </p:nvSpPr>
        <p:spPr bwMode="auto">
          <a:xfrm>
            <a:off x="7247210" y="4133690"/>
            <a:ext cx="1030935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2DA5867-BAE2-7EF1-BAF6-4472911D0990}"/>
              </a:ext>
            </a:extLst>
          </p:cNvPr>
          <p:cNvSpPr/>
          <p:nvPr/>
        </p:nvSpPr>
        <p:spPr bwMode="auto">
          <a:xfrm>
            <a:off x="4905646" y="6489828"/>
            <a:ext cx="1738994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186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13C1A-F381-CCD3-5DA3-06F2B96F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CA61BC-D488-EEF6-E149-AA1A8B7E6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AC2F8D-C487-6510-9F9B-A23F01D12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</a:t>
            </a:fld>
            <a:endParaRPr lang="en-US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DB38BF-0556-E3A2-26AB-444FB4D7BB42}"/>
              </a:ext>
            </a:extLst>
          </p:cNvPr>
          <p:cNvSpPr txBox="1"/>
          <p:nvPr/>
        </p:nvSpPr>
        <p:spPr>
          <a:xfrm>
            <a:off x="521208" y="1627632"/>
            <a:ext cx="8156261" cy="110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02C51C-883C-FE24-464D-3ADFF3E76EEA}"/>
              </a:ext>
            </a:extLst>
          </p:cNvPr>
          <p:cNvSpPr txBox="1"/>
          <p:nvPr/>
        </p:nvSpPr>
        <p:spPr>
          <a:xfrm>
            <a:off x="521208" y="1627632"/>
            <a:ext cx="8156261" cy="1914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oogle Earth Engine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latin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itHub</a:t>
            </a:r>
            <a:endParaRPr lang="en-US" sz="2000" b="0" dirty="0"/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39659743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81" y="1170433"/>
            <a:ext cx="8478837" cy="2974848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then asks you to set a local path where a copy of the repository will be saved on your local computer</a:t>
            </a:r>
          </a:p>
          <a:p>
            <a:pPr lvl="3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default, a cloned repository will be saved in C:\Users\</a:t>
            </a:r>
            <a:r>
              <a:rPr lang="en-US" dirty="0"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\Documents\GitHub</a:t>
            </a:r>
          </a:p>
          <a:p>
            <a:pPr lvl="3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lick on Clo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3FAB9F-1C70-8A99-063E-3ACF028A61F6}"/>
              </a:ext>
            </a:extLst>
          </p:cNvPr>
          <p:cNvSpPr txBox="1">
            <a:spLocks/>
          </p:cNvSpPr>
          <p:nvPr/>
        </p:nvSpPr>
        <p:spPr bwMode="auto">
          <a:xfrm>
            <a:off x="357188" y="301625"/>
            <a:ext cx="8461375" cy="706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F696E8-3CF4-48D2-064D-E7FB25F33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6393" y="3379467"/>
            <a:ext cx="4867847" cy="3159446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1186E9A-F1A3-5893-EB66-4927339D638A}"/>
              </a:ext>
            </a:extLst>
          </p:cNvPr>
          <p:cNvSpPr/>
          <p:nvPr/>
        </p:nvSpPr>
        <p:spPr bwMode="auto">
          <a:xfrm>
            <a:off x="2386392" y="5158011"/>
            <a:ext cx="4548979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032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606" y="1536278"/>
            <a:ext cx="8812322" cy="456395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w make sure that you see “tanzania_github_demo_2024” under Current reposi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1BD4A7-9435-0E19-DE79-A881F7AEED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66857"/>
            <a:ext cx="9144000" cy="375461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9593045A-21AA-C3D2-F596-E589BF7358CF}"/>
              </a:ext>
            </a:extLst>
          </p:cNvPr>
          <p:cNvSpPr/>
          <p:nvPr/>
        </p:nvSpPr>
        <p:spPr bwMode="auto">
          <a:xfrm>
            <a:off x="0" y="3089794"/>
            <a:ext cx="1738994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967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606" y="1536278"/>
            <a:ext cx="8812322" cy="456395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w make sure that you see “tanzania_github_demo_2024” under Current reposito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 my case, I also see a new local copy of tanzania_github_demo_2024 folder in Documents/GitHub fold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9428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7E38C0-17FE-D2A9-4605-85A6957E2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9" y="3305908"/>
            <a:ext cx="4934233" cy="305044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094892" y="3587262"/>
            <a:ext cx="5741133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785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7E38C0-17FE-D2A9-4605-85A6957E2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9" y="3305908"/>
            <a:ext cx="4934233" cy="305044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228311" y="6067795"/>
            <a:ext cx="1540638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33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498AA5-EE5F-E32F-06FE-376F77A48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04551"/>
            <a:ext cx="9144000" cy="22168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te that all the changes you made so far are not yet reflected in th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GitHub page online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ess “Push origin” to reflect the changes in the GitHub page onlin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270514" y="4223110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6233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D06F280-3333-9810-63FC-3946D522AE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" y="4479762"/>
            <a:ext cx="9144000" cy="23782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te that all the changes you made so far are not yet reflected in th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GitHub page online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ess “Push origin” to reflect the changes in the GitHub page onlin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now see the change reflected on the pag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2342046" y="6112061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5599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Pull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can now pull changes made by your colleagues by pressing “Fetch orig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8421B2-0431-D2FB-4E75-B736067B2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54991"/>
            <a:ext cx="9144000" cy="19322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54D62BD-D6B1-6F71-AE66-852C51BDBB33}"/>
              </a:ext>
            </a:extLst>
          </p:cNvPr>
          <p:cNvSpPr/>
          <p:nvPr/>
        </p:nvSpPr>
        <p:spPr bwMode="auto">
          <a:xfrm>
            <a:off x="3110142" y="364746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7807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08A0990-5621-4408-FE4E-131469E44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2610"/>
            <a:ext cx="9144000" cy="27088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Pull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can now pull changes made by your colleagues by pressing “Fetch orig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w “Pull origin” to reflect the changes available in the GitHub online page to your own local computer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4D62BD-D6B1-6F71-AE66-852C51BDBB33}"/>
              </a:ext>
            </a:extLst>
          </p:cNvPr>
          <p:cNvSpPr/>
          <p:nvPr/>
        </p:nvSpPr>
        <p:spPr bwMode="auto">
          <a:xfrm>
            <a:off x="3110142" y="364746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7332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562671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6" y="1234281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ranching lets you have different versions of a repository at one tim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default, your repository has one branch named main that is considered to be the definitive branch. You can create additional branches off of main in your repository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ranching is helpful when you want to add new features to a project without changing the main source of code. You can use branches to experiment and make edits before committing them to mai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92E621-FE77-6B9F-0436-6D52C8DFF1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37185"/>
            <a:ext cx="9144000" cy="2384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734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oogle Earth Engine</a:t>
            </a:r>
          </a:p>
        </p:txBody>
      </p:sp>
    </p:spTree>
    <p:extLst>
      <p:ext uri="{BB962C8B-B14F-4D97-AF65-F5344CB8AC3E}">
        <p14:creationId xmlns:p14="http://schemas.microsoft.com/office/powerpoint/2010/main" val="32892153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7020E0-B7DF-CB37-FFC4-41EEA6462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06" y="2131565"/>
            <a:ext cx="9144000" cy="4726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877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tice that now your current branch is feature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ny change you make in this branch does not affect the main branch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may merge those changes to the main branch (if you want to)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C6C4FD-754F-8047-1BA6-53C5854A8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06" y="3429000"/>
            <a:ext cx="9144000" cy="241920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2FD1887E-38A7-A1DD-E4EB-9CA922758DAB}"/>
              </a:ext>
            </a:extLst>
          </p:cNvPr>
          <p:cNvSpPr/>
          <p:nvPr/>
        </p:nvSpPr>
        <p:spPr bwMode="auto">
          <a:xfrm>
            <a:off x="1469232" y="358483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6907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tice that now your current branch is feature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ny change you make in this branch does not affect the main branch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may merge those changes to the main branch (if you want to)</a:t>
            </a:r>
          </a:p>
          <a:p>
            <a:pPr marL="171450" lvl="2" indent="-171450">
              <a:lnSpc>
                <a:spcPct val="100000"/>
              </a:lnSpc>
              <a:spcBef>
                <a:spcPts val="0"/>
              </a:spcBef>
              <a:buClr>
                <a:srgbClr val="404040"/>
              </a:buClr>
              <a:buFont typeface="Arial" charset="0"/>
              <a:buChar char="•"/>
            </a:pPr>
            <a:r>
              <a:rPr lang="en-US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 can first “Publish your branch”</a:t>
            </a:r>
          </a:p>
          <a:p>
            <a:pPr marL="171450" lvl="2" indent="-171450">
              <a:lnSpc>
                <a:spcPct val="100000"/>
              </a:lnSpc>
              <a:spcBef>
                <a:spcPts val="0"/>
              </a:spcBef>
              <a:buClr>
                <a:srgbClr val="404040"/>
              </a:buClr>
              <a:buFont typeface="Arial" charset="0"/>
              <a:buChar char="•"/>
            </a:pPr>
            <a:r>
              <a:rPr lang="en-US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ce feature branch is published, you can click on “Compare and pull request” and click on “Create pull request” to make a request for this branch to be merged with the main branch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7662427-B6A4-DF7C-7B4A-6329FA2126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930291"/>
            <a:ext cx="3953126" cy="292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233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CDA44-19F4-3831-BB0E-4EAF4E371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Earth Engine (with Pyth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5F9406-8D7D-862D-8F39-C555E94AA68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gle Earth Engine combines a multi-petabyte catalog of satellite imagery and geospatial datasets with planetary-scale analysis capabilities.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segment of the training introduces you to GEE and how to work with it through </a:t>
            </a:r>
            <a:r>
              <a:rPr lang="en-US" sz="1600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 in Python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5E98C3-37D8-6656-510B-B3C7D936A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3F193E-7934-C047-BA4D-684DE2FEE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3</a:t>
            </a:fld>
            <a:endParaRPr lang="en-US" altLang="en-US"/>
          </a:p>
        </p:txBody>
      </p:sp>
      <p:pic>
        <p:nvPicPr>
          <p:cNvPr id="1026" name="Picture 2" descr="Google Earth Engine">
            <a:extLst>
              <a:ext uri="{FF2B5EF4-FFF2-40B4-BE49-F238E27FC236}">
                <a16:creationId xmlns:a16="http://schemas.microsoft.com/office/drawing/2014/main" id="{D3F05243-0C3F-7DFB-8B4C-D7F4CFC81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" y="3760931"/>
            <a:ext cx="2068132" cy="1962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mote Sensing | Free Full-Text | Google Earth Engine Open-Source Code for  Land Surface Temperature Estimation from the Landsat Series">
            <a:extLst>
              <a:ext uri="{FF2B5EF4-FFF2-40B4-BE49-F238E27FC236}">
                <a16:creationId xmlns:a16="http://schemas.microsoft.com/office/drawing/2014/main" id="{65001DDC-AB14-99F2-B92D-2C2788E21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427" y="2752693"/>
            <a:ext cx="4494357" cy="360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067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8AFF2-C090-6C96-60BC-DC6D5F2CC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at is GE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44B89-B604-8AB8-04C8-3A65812A113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pPr algn="ctr"/>
            <a:r>
              <a:rPr lang="en-US" b="0" i="0" u="none" strike="noStrike" dirty="0">
                <a:solidFill>
                  <a:srgbClr val="FFFFFF"/>
                </a:solidFill>
                <a:effectLst/>
                <a:latin typeface="YouTube Noto"/>
                <a:hlinkClick r:id="rId2"/>
              </a:rPr>
              <a:t>https://youtu.be/gKGOeTFHnKY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DC3DC-F2D3-FE05-7A62-5E5530DCF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B58D2A-2D84-912B-6970-C29376459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0356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0FC2B-B72F-A007-80EA-C5341F83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et’s sign up for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14624-C7DE-3B9B-4197-BCC5A809BAD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 in using your own Gmail on Google Chrom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“Get started” on the GE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llow instructions to create your own GEE project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5E6F96-4BE0-8815-D38B-EE18221F1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D7B0C2-2378-C114-7FAF-2E7019748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5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4E32B4-A841-023D-54E2-C0F7198FAA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293" y="3125978"/>
            <a:ext cx="7444509" cy="2836382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3D1787CA-C063-7B40-0DD5-3BFF52899FAE}"/>
              </a:ext>
            </a:extLst>
          </p:cNvPr>
          <p:cNvSpPr/>
          <p:nvPr/>
        </p:nvSpPr>
        <p:spPr bwMode="auto">
          <a:xfrm>
            <a:off x="7873961" y="3027121"/>
            <a:ext cx="683491" cy="366757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182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things 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conda: a free, open-source distribution of Python and R for data science and machine learning. It includes over 250 pre-installed packages, such as SciPy,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lplotli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andas, and NumPy, which are used in scientific computing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thon: </a:t>
            </a:r>
            <a:r>
              <a:rPr lang="en-US" b="0" i="0" dirty="0">
                <a:solidFill>
                  <a:srgbClr val="1F1F1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computer programming language often used to build websites and software, automate tasks, and conduct data analysi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eemap</a:t>
            </a:r>
            <a:r>
              <a:rPr lang="en-US" dirty="0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:  Python package for interactive geospatial analysis and visualization with Google Earth Engine (GEE)</a:t>
            </a:r>
            <a:endParaRPr lang="en-US" dirty="0">
              <a:solidFill>
                <a:schemeClr val="tx2">
                  <a:lumMod val="95000"/>
                  <a:lumOff val="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2339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1421245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ter Anaconda is stalled, go to Anaconda Prompt, which will open a new window like below. You can type in “Anaconda Prompt” in your Search bar and it should appear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7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9E9519-9AE0-56F5-DC35-A8AA7D472E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8987" y="3263260"/>
            <a:ext cx="5548479" cy="3093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926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and paste the following commands into the prompt: </a:t>
            </a:r>
          </a:p>
          <a:p>
            <a:pPr marL="272034" lvl="2" indent="0">
              <a:buNone/>
            </a:pP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create -n gee </a:t>
            </a:r>
            <a:r>
              <a:rPr lang="en-US" b="0" i="0" dirty="0"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ython=3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.11</a:t>
            </a: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activate gee </a:t>
            </a: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install -n base mamba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 </a:t>
            </a: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mamba install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 </a:t>
            </a: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mamba install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opandas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localtileserver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</a:t>
            </a:r>
          </a:p>
          <a:p>
            <a:pPr marL="272034" lvl="2" indent="0">
              <a:buNone/>
            </a:pP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ip install </a:t>
            </a: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endParaRPr lang="en-US" dirty="0">
              <a:solidFill>
                <a:srgbClr val="36464E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ip install --upgrade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endParaRPr lang="en-US" dirty="0"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3772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7PgNJyxLQXI7mt_eoYcA"/>
</p:tagLst>
</file>

<file path=ppt/theme/theme1.xml><?xml version="1.0" encoding="utf-8"?>
<a:theme xmlns:a="http://schemas.openxmlformats.org/drawingml/2006/main" name="WBG-Any_Logo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9C7DD70D-EBD0-43CE-AD1D-C73905EFC80E}"/>
    </a:ext>
  </a:extLst>
</a:theme>
</file>

<file path=ppt/theme/theme2.xml><?xml version="1.0" encoding="utf-8"?>
<a:theme xmlns:a="http://schemas.openxmlformats.org/drawingml/2006/main" name="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3.xml><?xml version="1.0" encoding="utf-8"?>
<a:theme xmlns:a="http://schemas.openxmlformats.org/drawingml/2006/main" name="1_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4.xml><?xml version="1.0" encoding="utf-8"?>
<a:theme xmlns:a="http://schemas.openxmlformats.org/drawingml/2006/main" name="Theme2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  <a:txDef>
      <a:spPr/>
      <a:bodyPr/>
      <a:lstStyle>
        <a:defPPr algn="l" eaLnBrk="1" hangingPunct="1">
          <a:defRPr sz="1100" dirty="0" smtClean="0">
            <a:solidFill>
              <a:srgbClr val="17375E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2" id="{BCAB9BDE-7FE8-4D2B-ACFF-03A4DC31FBFE}" vid="{823A246A-101B-4AE1-97AC-B8C69B61941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ppt/theme/themeOverride2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D135C35F46F242ABD78D63C2151323" ma:contentTypeVersion="13" ma:contentTypeDescription="Create a new document." ma:contentTypeScope="" ma:versionID="f9b25b66a4ff7bd66c0059b679fc8b7b">
  <xsd:schema xmlns:xsd="http://www.w3.org/2001/XMLSchema" xmlns:xs="http://www.w3.org/2001/XMLSchema" xmlns:p="http://schemas.microsoft.com/office/2006/metadata/properties" xmlns:ns3="0c867391-8214-4b58-86b3-de07547409f9" xmlns:ns4="fddef6a8-5936-4909-96e0-2ad7a6b1720b" targetNamespace="http://schemas.microsoft.com/office/2006/metadata/properties" ma:root="true" ma:fieldsID="d49cd8fb50a82f4d2ad37c265db787e1" ns3:_="" ns4:_="">
    <xsd:import namespace="0c867391-8214-4b58-86b3-de07547409f9"/>
    <xsd:import namespace="fddef6a8-5936-4909-96e0-2ad7a6b1720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67391-8214-4b58-86b3-de07547409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f6a8-5936-4909-96e0-2ad7a6b172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0B586D4-519D-4E60-9D1E-322131403872}">
  <ds:schemaRefs>
    <ds:schemaRef ds:uri="0c867391-8214-4b58-86b3-de07547409f9"/>
    <ds:schemaRef ds:uri="fddef6a8-5936-4909-96e0-2ad7a6b17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03E63B4-5A2F-4942-B4FE-505573CFF0D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976CAE6-6D2C-4B9F-86D0-4E5814233C73}">
  <ds:schemaRefs>
    <ds:schemaRef ds:uri="0c867391-8214-4b58-86b3-de07547409f9"/>
    <ds:schemaRef ds:uri="fddef6a8-5936-4909-96e0-2ad7a6b17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201</TotalTime>
  <Words>1971</Words>
  <Application>Microsoft Office PowerPoint</Application>
  <PresentationFormat>On-screen Show (4:3)</PresentationFormat>
  <Paragraphs>215</Paragraphs>
  <Slides>3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6" baseType="lpstr">
      <vt:lpstr>YouTube Noto</vt:lpstr>
      <vt:lpstr>Andes ExtraLight</vt:lpstr>
      <vt:lpstr>Arial</vt:lpstr>
      <vt:lpstr>Arial Bold</vt:lpstr>
      <vt:lpstr>Calibri</vt:lpstr>
      <vt:lpstr>Segoe UI</vt:lpstr>
      <vt:lpstr>Symbol</vt:lpstr>
      <vt:lpstr>Trebuchet MS</vt:lpstr>
      <vt:lpstr>Wingdings</vt:lpstr>
      <vt:lpstr>WBG-Any_Logo</vt:lpstr>
      <vt:lpstr>Full Page Interior</vt:lpstr>
      <vt:lpstr>1_Full Page Interior</vt:lpstr>
      <vt:lpstr>Theme2</vt:lpstr>
      <vt:lpstr>think-cell Slide</vt:lpstr>
      <vt:lpstr>Day 6: introduction to google earth engine (GEE) and github</vt:lpstr>
      <vt:lpstr>Today’s Agenda</vt:lpstr>
      <vt:lpstr>Introduction to Google Earth Engine</vt:lpstr>
      <vt:lpstr>Google Earth Engine (with Python)</vt:lpstr>
      <vt:lpstr>What is GEE?</vt:lpstr>
      <vt:lpstr>Let’s sign up for GEE</vt:lpstr>
      <vt:lpstr>Setting things up</vt:lpstr>
      <vt:lpstr>Get Python and geemap Library</vt:lpstr>
      <vt:lpstr>Get Python and geemap Library</vt:lpstr>
      <vt:lpstr>Get Python and geemap Library</vt:lpstr>
      <vt:lpstr>Example: Downloading NDVI data and computing zonal statistics through GEE</vt:lpstr>
      <vt:lpstr>Introduction to GitHub</vt:lpstr>
      <vt:lpstr>PowerPoint Presentation</vt:lpstr>
      <vt:lpstr>PowerPoint Presentation</vt:lpstr>
      <vt:lpstr>What are Git and Github?</vt:lpstr>
      <vt:lpstr>Workflow through github</vt:lpstr>
      <vt:lpstr>Setting up github and github desktop</vt:lpstr>
      <vt:lpstr>Create a repository</vt:lpstr>
      <vt:lpstr>Fork the repository to your local machine</vt:lpstr>
      <vt:lpstr>PowerPoint Presentation</vt:lpstr>
      <vt:lpstr>Copy (or clone) the repository to your local machine</vt:lpstr>
      <vt:lpstr>Copy (or clone) the repository to your local machine</vt:lpstr>
      <vt:lpstr>Make changes</vt:lpstr>
      <vt:lpstr>Make changes</vt:lpstr>
      <vt:lpstr>Make changes</vt:lpstr>
      <vt:lpstr>Make changes</vt:lpstr>
      <vt:lpstr>Pull changes</vt:lpstr>
      <vt:lpstr>Pull changes</vt:lpstr>
      <vt:lpstr>Branch and pull requests</vt:lpstr>
      <vt:lpstr>Branch and pull requests</vt:lpstr>
      <vt:lpstr>Branch and pull requests</vt:lpstr>
      <vt:lpstr>Branch and pull reque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cy Bikondo-Omosa</dc:creator>
  <cp:lastModifiedBy>Takaaki Masaki</cp:lastModifiedBy>
  <cp:revision>3</cp:revision>
  <dcterms:created xsi:type="dcterms:W3CDTF">2021-02-18T16:05:50Z</dcterms:created>
  <dcterms:modified xsi:type="dcterms:W3CDTF">2024-04-28T17:1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D135C35F46F242ABD78D63C2151323</vt:lpwstr>
  </property>
</Properties>
</file>